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4"/>
  </p:sldMasterIdLst>
  <p:notesMasterIdLst>
    <p:notesMasterId r:id="rId26"/>
  </p:notesMasterIdLst>
  <p:handoutMasterIdLst>
    <p:handoutMasterId r:id="rId27"/>
  </p:handoutMasterIdLst>
  <p:sldIdLst>
    <p:sldId id="398" r:id="rId15"/>
    <p:sldId id="399" r:id="rId16"/>
    <p:sldId id="2540" r:id="rId17"/>
    <p:sldId id="2541" r:id="rId18"/>
    <p:sldId id="2542" r:id="rId19"/>
    <p:sldId id="260" r:id="rId20"/>
    <p:sldId id="354" r:id="rId21"/>
    <p:sldId id="405" r:id="rId22"/>
    <p:sldId id="2553" r:id="rId23"/>
    <p:sldId id="270" r:id="rId24"/>
    <p:sldId id="397" r:id="rId25"/>
  </p:sldIdLst>
  <p:sldSz cx="9144000" cy="5143500" type="screen16x9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45BA"/>
    <a:srgbClr val="D10077"/>
    <a:srgbClr val="DE7C00"/>
    <a:srgbClr val="15973A"/>
    <a:srgbClr val="269A91"/>
    <a:srgbClr val="9AD7F9"/>
    <a:srgbClr val="00A8EB"/>
    <a:srgbClr val="0077CC"/>
    <a:srgbClr val="00629F"/>
    <a:srgbClr val="0032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B39685-502C-9145-A538-D6A332DCC8B7}" v="64" dt="2022-09-21T12:37:11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88" autoAdjust="0"/>
    <p:restoredTop sz="96327" autoAdjust="0"/>
  </p:normalViewPr>
  <p:slideViewPr>
    <p:cSldViewPr>
      <p:cViewPr varScale="1">
        <p:scale>
          <a:sx n="189" d="100"/>
          <a:sy n="189" d="100"/>
        </p:scale>
        <p:origin x="3488" y="1600"/>
      </p:cViewPr>
      <p:guideLst/>
    </p:cSldViewPr>
  </p:slideViewPr>
  <p:outlineViewPr>
    <p:cViewPr>
      <p:scale>
        <a:sx n="33" d="100"/>
        <a:sy n="33" d="100"/>
      </p:scale>
      <p:origin x="0" y="-2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5" d="100"/>
        <a:sy n="12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75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customXml" Target="../customXml/item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ll, Erik" userId="6b96e56c-0730-4459-8d04-22ce0a82dee0" providerId="ADAL" clId="{0FB39685-502C-9145-A538-D6A332DCC8B7}"/>
    <pc:docChg chg="undo custSel addSld modSld">
      <pc:chgData name="Moll, Erik" userId="6b96e56c-0730-4459-8d04-22ce0a82dee0" providerId="ADAL" clId="{0FB39685-502C-9145-A538-D6A332DCC8B7}" dt="2022-09-21T12:38:41.582" v="574" actId="20577"/>
      <pc:docMkLst>
        <pc:docMk/>
      </pc:docMkLst>
      <pc:sldChg chg="addSp delSp modSp mod">
        <pc:chgData name="Moll, Erik" userId="6b96e56c-0730-4459-8d04-22ce0a82dee0" providerId="ADAL" clId="{0FB39685-502C-9145-A538-D6A332DCC8B7}" dt="2022-09-06T10:33:11.185" v="278" actId="1076"/>
        <pc:sldMkLst>
          <pc:docMk/>
          <pc:sldMk cId="1302424102" sldId="260"/>
        </pc:sldMkLst>
        <pc:picChg chg="add del mod">
          <ac:chgData name="Moll, Erik" userId="6b96e56c-0730-4459-8d04-22ce0a82dee0" providerId="ADAL" clId="{0FB39685-502C-9145-A538-D6A332DCC8B7}" dt="2022-09-06T10:32:58.307" v="275" actId="478"/>
          <ac:picMkLst>
            <pc:docMk/>
            <pc:sldMk cId="1302424102" sldId="260"/>
            <ac:picMk id="3" creationId="{38C8EB31-7A28-3781-F71B-BEC02D220CC7}"/>
          </ac:picMkLst>
        </pc:picChg>
        <pc:picChg chg="add mod">
          <ac:chgData name="Moll, Erik" userId="6b96e56c-0730-4459-8d04-22ce0a82dee0" providerId="ADAL" clId="{0FB39685-502C-9145-A538-D6A332DCC8B7}" dt="2022-09-06T10:33:11.185" v="278" actId="1076"/>
          <ac:picMkLst>
            <pc:docMk/>
            <pc:sldMk cId="1302424102" sldId="260"/>
            <ac:picMk id="4" creationId="{9E7401C5-B9A6-3B11-077F-3CC02F2A99B9}"/>
          </ac:picMkLst>
        </pc:picChg>
        <pc:picChg chg="del">
          <ac:chgData name="Moll, Erik" userId="6b96e56c-0730-4459-8d04-22ce0a82dee0" providerId="ADAL" clId="{0FB39685-502C-9145-A538-D6A332DCC8B7}" dt="2022-09-06T10:31:14.986" v="272" actId="478"/>
          <ac:picMkLst>
            <pc:docMk/>
            <pc:sldMk cId="1302424102" sldId="260"/>
            <ac:picMk id="7" creationId="{DCBCD329-2D92-431C-A282-2BF8F060BDA3}"/>
          </ac:picMkLst>
        </pc:picChg>
      </pc:sldChg>
      <pc:sldChg chg="modSp mod">
        <pc:chgData name="Moll, Erik" userId="6b96e56c-0730-4459-8d04-22ce0a82dee0" providerId="ADAL" clId="{0FB39685-502C-9145-A538-D6A332DCC8B7}" dt="2022-09-21T12:38:41.582" v="574" actId="20577"/>
        <pc:sldMkLst>
          <pc:docMk/>
          <pc:sldMk cId="2598479865" sldId="270"/>
        </pc:sldMkLst>
        <pc:spChg chg="mod">
          <ac:chgData name="Moll, Erik" userId="6b96e56c-0730-4459-8d04-22ce0a82dee0" providerId="ADAL" clId="{0FB39685-502C-9145-A538-D6A332DCC8B7}" dt="2022-09-21T12:38:41.582" v="574" actId="20577"/>
          <ac:spMkLst>
            <pc:docMk/>
            <pc:sldMk cId="2598479865" sldId="270"/>
            <ac:spMk id="3" creationId="{00000000-0000-0000-0000-000000000000}"/>
          </ac:spMkLst>
        </pc:spChg>
      </pc:sldChg>
      <pc:sldChg chg="addSp delSp modSp add mod setBg modClrScheme delDesignElem chgLayout">
        <pc:chgData name="Moll, Erik" userId="6b96e56c-0730-4459-8d04-22ce0a82dee0" providerId="ADAL" clId="{0FB39685-502C-9145-A538-D6A332DCC8B7}" dt="2022-09-06T10:19:41.434" v="54" actId="14100"/>
        <pc:sldMkLst>
          <pc:docMk/>
          <pc:sldMk cId="510488628" sldId="354"/>
        </pc:sldMkLst>
        <pc:spChg chg="mod ord">
          <ac:chgData name="Moll, Erik" userId="6b96e56c-0730-4459-8d04-22ce0a82dee0" providerId="ADAL" clId="{0FB39685-502C-9145-A538-D6A332DCC8B7}" dt="2022-09-06T10:17:01.410" v="4" actId="27636"/>
          <ac:spMkLst>
            <pc:docMk/>
            <pc:sldMk cId="510488628" sldId="354"/>
            <ac:spMk id="2" creationId="{00000000-0000-0000-0000-000000000000}"/>
          </ac:spMkLst>
        </pc:spChg>
        <pc:spChg chg="mod ord">
          <ac:chgData name="Moll, Erik" userId="6b96e56c-0730-4459-8d04-22ce0a82dee0" providerId="ADAL" clId="{0FB39685-502C-9145-A538-D6A332DCC8B7}" dt="2022-09-06T10:18:11.165" v="46" actId="20577"/>
          <ac:spMkLst>
            <pc:docMk/>
            <pc:sldMk cId="510488628" sldId="354"/>
            <ac:spMk id="3" creationId="{5DA83E3E-3A88-43E2-9586-B115BBDDB8AB}"/>
          </ac:spMkLst>
        </pc:spChg>
        <pc:spChg chg="del mod ord">
          <ac:chgData name="Moll, Erik" userId="6b96e56c-0730-4459-8d04-22ce0a82dee0" providerId="ADAL" clId="{0FB39685-502C-9145-A538-D6A332DCC8B7}" dt="2022-09-06T10:17:24.716" v="8" actId="478"/>
          <ac:spMkLst>
            <pc:docMk/>
            <pc:sldMk cId="510488628" sldId="354"/>
            <ac:spMk id="4" creationId="{00000000-0000-0000-0000-000000000000}"/>
          </ac:spMkLst>
        </pc:spChg>
        <pc:spChg chg="add del mod">
          <ac:chgData name="Moll, Erik" userId="6b96e56c-0730-4459-8d04-22ce0a82dee0" providerId="ADAL" clId="{0FB39685-502C-9145-A538-D6A332DCC8B7}" dt="2022-09-06T10:16:46.160" v="2"/>
          <ac:spMkLst>
            <pc:docMk/>
            <pc:sldMk cId="510488628" sldId="354"/>
            <ac:spMk id="6" creationId="{FB3E4948-1DA7-253E-A00F-2744696B4945}"/>
          </ac:spMkLst>
        </pc:spChg>
        <pc:spChg chg="add del mod">
          <ac:chgData name="Moll, Erik" userId="6b96e56c-0730-4459-8d04-22ce0a82dee0" providerId="ADAL" clId="{0FB39685-502C-9145-A538-D6A332DCC8B7}" dt="2022-09-06T10:16:46.160" v="2"/>
          <ac:spMkLst>
            <pc:docMk/>
            <pc:sldMk cId="510488628" sldId="354"/>
            <ac:spMk id="7" creationId="{562664AF-3432-D123-653E-D7BC1A02277D}"/>
          </ac:spMkLst>
        </pc:spChg>
        <pc:spChg chg="add mod ord">
          <ac:chgData name="Moll, Erik" userId="6b96e56c-0730-4459-8d04-22ce0a82dee0" providerId="ADAL" clId="{0FB39685-502C-9145-A538-D6A332DCC8B7}" dt="2022-09-06T10:17:46.946" v="11" actId="20577"/>
          <ac:spMkLst>
            <pc:docMk/>
            <pc:sldMk cId="510488628" sldId="354"/>
            <ac:spMk id="8" creationId="{22908EFC-8032-549D-17F8-BF193C6251A8}"/>
          </ac:spMkLst>
        </pc:spChg>
        <pc:spChg chg="del">
          <ac:chgData name="Moll, Erik" userId="6b96e56c-0730-4459-8d04-22ce0a82dee0" providerId="ADAL" clId="{0FB39685-502C-9145-A538-D6A332DCC8B7}" dt="2022-09-06T10:16:29.949" v="1"/>
          <ac:spMkLst>
            <pc:docMk/>
            <pc:sldMk cId="510488628" sldId="354"/>
            <ac:spMk id="10" creationId="{2B97F24A-32CE-4C1C-A50D-3016B394DCFB}"/>
          </ac:spMkLst>
        </pc:spChg>
        <pc:spChg chg="del">
          <ac:chgData name="Moll, Erik" userId="6b96e56c-0730-4459-8d04-22ce0a82dee0" providerId="ADAL" clId="{0FB39685-502C-9145-A538-D6A332DCC8B7}" dt="2022-09-06T10:16:29.949" v="1"/>
          <ac:spMkLst>
            <pc:docMk/>
            <pc:sldMk cId="510488628" sldId="354"/>
            <ac:spMk id="12" creationId="{6357EC4F-235E-4222-A36F-C7878ACE37F2}"/>
          </ac:spMkLst>
        </pc:spChg>
        <pc:graphicFrameChg chg="mod modGraphic">
          <ac:chgData name="Moll, Erik" userId="6b96e56c-0730-4459-8d04-22ce0a82dee0" providerId="ADAL" clId="{0FB39685-502C-9145-A538-D6A332DCC8B7}" dt="2022-09-06T10:19:41.434" v="54" actId="14100"/>
          <ac:graphicFrameMkLst>
            <pc:docMk/>
            <pc:sldMk cId="510488628" sldId="354"/>
            <ac:graphicFrameMk id="5" creationId="{00000000-0000-0000-0000-000000000000}"/>
          </ac:graphicFrameMkLst>
        </pc:graphicFrameChg>
      </pc:sldChg>
      <pc:sldChg chg="modSp mod">
        <pc:chgData name="Moll, Erik" userId="6b96e56c-0730-4459-8d04-22ce0a82dee0" providerId="ADAL" clId="{0FB39685-502C-9145-A538-D6A332DCC8B7}" dt="2022-09-21T09:41:19.630" v="340" actId="20577"/>
        <pc:sldMkLst>
          <pc:docMk/>
          <pc:sldMk cId="1788356467" sldId="398"/>
        </pc:sldMkLst>
        <pc:spChg chg="mod">
          <ac:chgData name="Moll, Erik" userId="6b96e56c-0730-4459-8d04-22ce0a82dee0" providerId="ADAL" clId="{0FB39685-502C-9145-A538-D6A332DCC8B7}" dt="2022-09-21T09:41:19.630" v="340" actId="20577"/>
          <ac:spMkLst>
            <pc:docMk/>
            <pc:sldMk cId="1788356467" sldId="398"/>
            <ac:spMk id="3" creationId="{D3403BAB-1548-B44F-8E3D-85FE8CD026DE}"/>
          </ac:spMkLst>
        </pc:spChg>
        <pc:spChg chg="mod">
          <ac:chgData name="Moll, Erik" userId="6b96e56c-0730-4459-8d04-22ce0a82dee0" providerId="ADAL" clId="{0FB39685-502C-9145-A538-D6A332DCC8B7}" dt="2022-09-21T09:41:12.428" v="332" actId="20577"/>
          <ac:spMkLst>
            <pc:docMk/>
            <pc:sldMk cId="1788356467" sldId="398"/>
            <ac:spMk id="4" creationId="{4F17C87F-2DCD-BF4B-A51C-A8A46AA7C98D}"/>
          </ac:spMkLst>
        </pc:spChg>
        <pc:spChg chg="mod">
          <ac:chgData name="Moll, Erik" userId="6b96e56c-0730-4459-8d04-22ce0a82dee0" providerId="ADAL" clId="{0FB39685-502C-9145-A538-D6A332DCC8B7}" dt="2022-09-21T09:40:31.960" v="314" actId="20577"/>
          <ac:spMkLst>
            <pc:docMk/>
            <pc:sldMk cId="1788356467" sldId="398"/>
            <ac:spMk id="5" creationId="{BF41DCD1-7E07-4346-AC06-6E652593FAE8}"/>
          </ac:spMkLst>
        </pc:spChg>
      </pc:sldChg>
      <pc:sldChg chg="modSp mod">
        <pc:chgData name="Moll, Erik" userId="6b96e56c-0730-4459-8d04-22ce0a82dee0" providerId="ADAL" clId="{0FB39685-502C-9145-A538-D6A332DCC8B7}" dt="2022-09-21T09:41:04.907" v="323" actId="20577"/>
        <pc:sldMkLst>
          <pc:docMk/>
          <pc:sldMk cId="2982310467" sldId="399"/>
        </pc:sldMkLst>
        <pc:spChg chg="mod">
          <ac:chgData name="Moll, Erik" userId="6b96e56c-0730-4459-8d04-22ce0a82dee0" providerId="ADAL" clId="{0FB39685-502C-9145-A538-D6A332DCC8B7}" dt="2022-09-21T09:41:04.907" v="323" actId="20577"/>
          <ac:spMkLst>
            <pc:docMk/>
            <pc:sldMk cId="2982310467" sldId="399"/>
            <ac:spMk id="6" creationId="{A52435D5-9039-154A-BC4A-C5381E664423}"/>
          </ac:spMkLst>
        </pc:spChg>
      </pc:sldChg>
      <pc:sldChg chg="addSp delSp modSp add mod modClrScheme chgLayout">
        <pc:chgData name="Moll, Erik" userId="6b96e56c-0730-4459-8d04-22ce0a82dee0" providerId="ADAL" clId="{0FB39685-502C-9145-A538-D6A332DCC8B7}" dt="2022-09-21T12:37:24.321" v="453" actId="1076"/>
        <pc:sldMkLst>
          <pc:docMk/>
          <pc:sldMk cId="1582928642" sldId="405"/>
        </pc:sldMkLst>
        <pc:spChg chg="add del mod">
          <ac:chgData name="Moll, Erik" userId="6b96e56c-0730-4459-8d04-22ce0a82dee0" providerId="ADAL" clId="{0FB39685-502C-9145-A538-D6A332DCC8B7}" dt="2022-09-21T09:52:44.353" v="401"/>
          <ac:spMkLst>
            <pc:docMk/>
            <pc:sldMk cId="1582928642" sldId="405"/>
            <ac:spMk id="2" creationId="{117E9A1C-A1DE-5060-E89B-4D92FF0EED89}"/>
          </ac:spMkLst>
        </pc:spChg>
        <pc:spChg chg="mod ord">
          <ac:chgData name="Moll, Erik" userId="6b96e56c-0730-4459-8d04-22ce0a82dee0" providerId="ADAL" clId="{0FB39685-502C-9145-A538-D6A332DCC8B7}" dt="2022-09-21T09:55:16.330" v="445" actId="20577"/>
          <ac:spMkLst>
            <pc:docMk/>
            <pc:sldMk cId="1582928642" sldId="405"/>
            <ac:spMk id="3" creationId="{70AFC302-34F8-4CAE-8793-CD6E5C468BFA}"/>
          </ac:spMkLst>
        </pc:spChg>
        <pc:spChg chg="del mod ord">
          <ac:chgData name="Moll, Erik" userId="6b96e56c-0730-4459-8d04-22ce0a82dee0" providerId="ADAL" clId="{0FB39685-502C-9145-A538-D6A332DCC8B7}" dt="2022-09-21T09:52:58.903" v="403" actId="478"/>
          <ac:spMkLst>
            <pc:docMk/>
            <pc:sldMk cId="1582928642" sldId="405"/>
            <ac:spMk id="4" creationId="{B7FAE63D-ED20-4F1B-B614-08BC1FC20C46}"/>
          </ac:spMkLst>
        </pc:spChg>
        <pc:spChg chg="mod">
          <ac:chgData name="Moll, Erik" userId="6b96e56c-0730-4459-8d04-22ce0a82dee0" providerId="ADAL" clId="{0FB39685-502C-9145-A538-D6A332DCC8B7}" dt="2022-09-21T09:53:57.477" v="411" actId="1582"/>
          <ac:spMkLst>
            <pc:docMk/>
            <pc:sldMk cId="1582928642" sldId="405"/>
            <ac:spMk id="5" creationId="{674F9144-6008-4273-BAA4-3042E1F8C222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6" creationId="{E45EDC51-5ED6-4144-A792-FEBBFC09B013}"/>
          </ac:spMkLst>
        </pc:spChg>
        <pc:spChg chg="add del mod">
          <ac:chgData name="Moll, Erik" userId="6b96e56c-0730-4459-8d04-22ce0a82dee0" providerId="ADAL" clId="{0FB39685-502C-9145-A538-D6A332DCC8B7}" dt="2022-09-21T09:52:44.353" v="401"/>
          <ac:spMkLst>
            <pc:docMk/>
            <pc:sldMk cId="1582928642" sldId="405"/>
            <ac:spMk id="7" creationId="{8FC5035B-A972-883E-0A46-1CBAED9E8599}"/>
          </ac:spMkLst>
        </pc:spChg>
        <pc:spChg chg="mod">
          <ac:chgData name="Moll, Erik" userId="6b96e56c-0730-4459-8d04-22ce0a82dee0" providerId="ADAL" clId="{0FB39685-502C-9145-A538-D6A332DCC8B7}" dt="2022-09-21T09:53:23.683" v="405" actId="1582"/>
          <ac:spMkLst>
            <pc:docMk/>
            <pc:sldMk cId="1582928642" sldId="405"/>
            <ac:spMk id="9" creationId="{67E3E396-F7B7-4611-9229-31CE6CEF24C7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10" creationId="{3896E200-B31B-44FC-8007-4ED700E84913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11" creationId="{182DEAF3-EC6E-40AA-9311-917A7916F58C}"/>
          </ac:spMkLst>
        </pc:spChg>
        <pc:spChg chg="add del mod">
          <ac:chgData name="Moll, Erik" userId="6b96e56c-0730-4459-8d04-22ce0a82dee0" providerId="ADAL" clId="{0FB39685-502C-9145-A538-D6A332DCC8B7}" dt="2022-09-21T09:52:53.594" v="402" actId="700"/>
          <ac:spMkLst>
            <pc:docMk/>
            <pc:sldMk cId="1582928642" sldId="405"/>
            <ac:spMk id="12" creationId="{5897E7C5-1BE6-A19B-BEF1-BF7707BF7D66}"/>
          </ac:spMkLst>
        </pc:spChg>
        <pc:spChg chg="mod">
          <ac:chgData name="Moll, Erik" userId="6b96e56c-0730-4459-8d04-22ce0a82dee0" providerId="ADAL" clId="{0FB39685-502C-9145-A538-D6A332DCC8B7}" dt="2022-09-21T09:53:23.683" v="405" actId="1582"/>
          <ac:spMkLst>
            <pc:docMk/>
            <pc:sldMk cId="1582928642" sldId="405"/>
            <ac:spMk id="13" creationId="{CE0E04B5-4757-4E20-90AD-53C503434AF2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22" creationId="{69C2A39D-F7BA-4722-8DB8-1E3410EB8805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23" creationId="{57BD1244-2190-42C6-BFAA-068F563F532F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24" creationId="{15126EE3-0969-400C-9CB3-D75C87B38203}"/>
          </ac:spMkLst>
        </pc:spChg>
        <pc:spChg chg="mod">
          <ac:chgData name="Moll, Erik" userId="6b96e56c-0730-4459-8d04-22ce0a82dee0" providerId="ADAL" clId="{0FB39685-502C-9145-A538-D6A332DCC8B7}" dt="2022-09-21T09:53:42.082" v="408" actId="1582"/>
          <ac:spMkLst>
            <pc:docMk/>
            <pc:sldMk cId="1582928642" sldId="405"/>
            <ac:spMk id="25" creationId="{5B13D95D-7CCC-4900-88CB-19643C00A97B}"/>
          </ac:spMkLst>
        </pc:spChg>
        <pc:spChg chg="mod">
          <ac:chgData name="Moll, Erik" userId="6b96e56c-0730-4459-8d04-22ce0a82dee0" providerId="ADAL" clId="{0FB39685-502C-9145-A538-D6A332DCC8B7}" dt="2022-09-21T09:53:23.683" v="405" actId="1582"/>
          <ac:spMkLst>
            <pc:docMk/>
            <pc:sldMk cId="1582928642" sldId="405"/>
            <ac:spMk id="26" creationId="{DC05F0DD-C225-4C93-8B8C-403786D44FB7}"/>
          </ac:spMkLst>
        </pc:spChg>
        <pc:picChg chg="add mod">
          <ac:chgData name="Moll, Erik" userId="6b96e56c-0730-4459-8d04-22ce0a82dee0" providerId="ADAL" clId="{0FB39685-502C-9145-A538-D6A332DCC8B7}" dt="2022-09-21T12:37:24.321" v="453" actId="1076"/>
          <ac:picMkLst>
            <pc:docMk/>
            <pc:sldMk cId="1582928642" sldId="405"/>
            <ac:picMk id="14" creationId="{EE25364D-72A9-C56C-BA58-81E65D0BE419}"/>
          </ac:picMkLst>
        </pc:picChg>
        <pc:cxnChg chg="mod">
          <ac:chgData name="Moll, Erik" userId="6b96e56c-0730-4459-8d04-22ce0a82dee0" providerId="ADAL" clId="{0FB39685-502C-9145-A538-D6A332DCC8B7}" dt="2022-09-21T09:53:23.683" v="405" actId="1582"/>
          <ac:cxnSpMkLst>
            <pc:docMk/>
            <pc:sldMk cId="1582928642" sldId="405"/>
            <ac:cxnSpMk id="8" creationId="{EC61CA00-ED17-4BC6-8130-419DC3B188BA}"/>
          </ac:cxnSpMkLst>
        </pc:cxnChg>
      </pc:sldChg>
      <pc:sldChg chg="modSp mod">
        <pc:chgData name="Moll, Erik" userId="6b96e56c-0730-4459-8d04-22ce0a82dee0" providerId="ADAL" clId="{0FB39685-502C-9145-A538-D6A332DCC8B7}" dt="2022-09-21T12:36:28.979" v="451" actId="20577"/>
        <pc:sldMkLst>
          <pc:docMk/>
          <pc:sldMk cId="3550258401" sldId="2540"/>
        </pc:sldMkLst>
        <pc:spChg chg="mod">
          <ac:chgData name="Moll, Erik" userId="6b96e56c-0730-4459-8d04-22ce0a82dee0" providerId="ADAL" clId="{0FB39685-502C-9145-A538-D6A332DCC8B7}" dt="2022-09-21T12:36:28.979" v="451" actId="20577"/>
          <ac:spMkLst>
            <pc:docMk/>
            <pc:sldMk cId="3550258401" sldId="2540"/>
            <ac:spMk id="7" creationId="{5FB58740-A73F-4F01-85C8-D0E8501F5DD3}"/>
          </ac:spMkLst>
        </pc:spChg>
      </pc:sldChg>
      <pc:sldChg chg="modSp mod">
        <pc:chgData name="Moll, Erik" userId="6b96e56c-0730-4459-8d04-22ce0a82dee0" providerId="ADAL" clId="{0FB39685-502C-9145-A538-D6A332DCC8B7}" dt="2022-09-06T10:28:16.898" v="271" actId="20577"/>
        <pc:sldMkLst>
          <pc:docMk/>
          <pc:sldMk cId="3982825034" sldId="2541"/>
        </pc:sldMkLst>
        <pc:spChg chg="mod">
          <ac:chgData name="Moll, Erik" userId="6b96e56c-0730-4459-8d04-22ce0a82dee0" providerId="ADAL" clId="{0FB39685-502C-9145-A538-D6A332DCC8B7}" dt="2022-09-06T10:27:34.504" v="263" actId="20577"/>
          <ac:spMkLst>
            <pc:docMk/>
            <pc:sldMk cId="3982825034" sldId="2541"/>
            <ac:spMk id="2" creationId="{F3802A6F-0493-7845-9E0B-F82F7ED5C4E8}"/>
          </ac:spMkLst>
        </pc:spChg>
        <pc:spChg chg="mod">
          <ac:chgData name="Moll, Erik" userId="6b96e56c-0730-4459-8d04-22ce0a82dee0" providerId="ADAL" clId="{0FB39685-502C-9145-A538-D6A332DCC8B7}" dt="2022-09-06T10:28:16.898" v="271" actId="20577"/>
          <ac:spMkLst>
            <pc:docMk/>
            <pc:sldMk cId="3982825034" sldId="2541"/>
            <ac:spMk id="6" creationId="{A52435D5-9039-154A-BC4A-C5381E664423}"/>
          </ac:spMkLst>
        </pc:spChg>
        <pc:spChg chg="mod">
          <ac:chgData name="Moll, Erik" userId="6b96e56c-0730-4459-8d04-22ce0a82dee0" providerId="ADAL" clId="{0FB39685-502C-9145-A538-D6A332DCC8B7}" dt="2022-09-06T10:27:00.730" v="250" actId="20577"/>
          <ac:spMkLst>
            <pc:docMk/>
            <pc:sldMk cId="3982825034" sldId="2541"/>
            <ac:spMk id="27" creationId="{3C48B079-9232-3309-B6E9-04E4CB211E1E}"/>
          </ac:spMkLst>
        </pc:spChg>
      </pc:sldChg>
      <pc:sldChg chg="modSp mod">
        <pc:chgData name="Moll, Erik" userId="6b96e56c-0730-4459-8d04-22ce0a82dee0" providerId="ADAL" clId="{0FB39685-502C-9145-A538-D6A332DCC8B7}" dt="2022-09-21T09:42:53.275" v="375" actId="20577"/>
        <pc:sldMkLst>
          <pc:docMk/>
          <pc:sldMk cId="1695359836" sldId="2553"/>
        </pc:sldMkLst>
        <pc:spChg chg="mod">
          <ac:chgData name="Moll, Erik" userId="6b96e56c-0730-4459-8d04-22ce0a82dee0" providerId="ADAL" clId="{0FB39685-502C-9145-A538-D6A332DCC8B7}" dt="2022-09-21T09:42:53.275" v="375" actId="20577"/>
          <ac:spMkLst>
            <pc:docMk/>
            <pc:sldMk cId="1695359836" sldId="2553"/>
            <ac:spMk id="10" creationId="{CB847BFE-408B-432B-A731-475CF58BD5A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21/09/22</a:t>
            </a:fld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9/21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7C54F6-85BE-4384-8C2D-14E19AC1E82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193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C946F-C9B2-9B49-8DCA-D38D97C43A2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055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17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noProof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8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9EFF973-2C06-D542-8981-F37E7CDEC096}"/>
              </a:ext>
            </a:extLst>
          </p:cNvPr>
          <p:cNvSpPr/>
          <p:nvPr userDrawn="1"/>
        </p:nvSpPr>
        <p:spPr>
          <a:xfrm>
            <a:off x="0" y="443263"/>
            <a:ext cx="9144000" cy="470023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E9A428-E265-304B-A132-D1DD107070AE}"/>
              </a:ext>
            </a:extLst>
          </p:cNvPr>
          <p:cNvSpPr/>
          <p:nvPr userDrawn="1"/>
        </p:nvSpPr>
        <p:spPr>
          <a:xfrm>
            <a:off x="0" y="4867707"/>
            <a:ext cx="9144000" cy="162000"/>
          </a:xfrm>
          <a:prstGeom prst="rect">
            <a:avLst/>
          </a:prstGeom>
          <a:solidFill>
            <a:srgbClr val="A729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BBEF625-8115-6343-AAB2-B14EA68348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82815"/>
            <a:ext cx="7886700" cy="665049"/>
          </a:xfrm>
          <a:prstGeom prst="rect">
            <a:avLst/>
          </a:prstGeom>
        </p:spPr>
        <p:txBody>
          <a:bodyPr/>
          <a:lstStyle>
            <a:lvl1pPr algn="l">
              <a:defRPr sz="2700">
                <a:solidFill>
                  <a:srgbClr val="0091B9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B998AB6-3D8D-0D43-85C3-D940C24B8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49" y="1497928"/>
            <a:ext cx="7886700" cy="316885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889E760-4062-2745-A3F6-2D1C5C7122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8649" y="62456"/>
            <a:ext cx="2080802" cy="32660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F0F5E62-64C0-2E4C-9F72-04EAF024CF30}"/>
              </a:ext>
            </a:extLst>
          </p:cNvPr>
          <p:cNvSpPr txBox="1"/>
          <p:nvPr userDrawn="1"/>
        </p:nvSpPr>
        <p:spPr>
          <a:xfrm>
            <a:off x="8634943" y="4869097"/>
            <a:ext cx="307127" cy="160610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DE63DE5B-D6E9-7B40-84C0-058E84E3C55A}" type="slidenum">
              <a:rPr lang="en-US" sz="900" b="0" cap="none" spc="0" baseline="0" smtClean="0">
                <a:ln w="0"/>
                <a:solidFill>
                  <a:schemeClr val="bg1"/>
                </a:solidFill>
                <a:effectLst/>
              </a:rPr>
              <a:pPr algn="r"/>
              <a:t>‹#›</a:t>
            </a:fld>
            <a:r>
              <a:rPr lang="en-US" sz="975" b="0" cap="none" spc="0" baseline="0" dirty="0">
                <a:ln w="0"/>
                <a:solidFill>
                  <a:schemeClr val="bg1"/>
                </a:solidFill>
                <a:effectLst/>
              </a:rPr>
              <a:t>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2005699-151B-144F-B548-29C2BF77C7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884490" y="49876"/>
            <a:ext cx="1162874" cy="39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535803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826" y="381000"/>
            <a:ext cx="8135939" cy="6985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82121" y="4848700"/>
            <a:ext cx="199973" cy="150200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Date Placeholder 1"/>
          <p:cNvSpPr>
            <a:spLocks noGrp="1"/>
          </p:cNvSpPr>
          <p:nvPr>
            <p:ph type="dt" sz="half" idx="2"/>
          </p:nvPr>
        </p:nvSpPr>
        <p:spPr>
          <a:xfrm>
            <a:off x="504827" y="4884456"/>
            <a:ext cx="718767" cy="107975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7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D03A4FDB-9373-42E8-991F-C97660A1626E}" type="datetime1">
              <a:rPr lang="en-US" smtClean="0"/>
              <a:t>9/21/22</a:t>
            </a:fld>
            <a:endParaRPr lang="en-US" dirty="0"/>
          </a:p>
        </p:txBody>
      </p:sp>
      <p:sp>
        <p:nvSpPr>
          <p:cNvPr id="4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948070" y="4884456"/>
            <a:ext cx="3910151" cy="107975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70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0416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: Body"/>
          <p:cNvSpPr>
            <a:spLocks noGrp="1" noChangeAspect="1"/>
          </p:cNvSpPr>
          <p:nvPr>
            <p:ph idx="1" hasCustomPrompt="1"/>
          </p:nvPr>
        </p:nvSpPr>
        <p:spPr>
          <a:xfrm>
            <a:off x="360943" y="990600"/>
            <a:ext cx="8411096" cy="365125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563"/>
              </a:spcBef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563"/>
              </a:spcBef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spcBef>
                <a:spcPts val="563"/>
              </a:spcBef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spcBef>
                <a:spcPts val="563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563"/>
              </a:spcBef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bullet level is Arial 24 point text</a:t>
            </a:r>
          </a:p>
          <a:p>
            <a:pPr lvl="1"/>
            <a:r>
              <a:rPr lang="en-US" dirty="0"/>
              <a:t>Second bullet level is Arial 20 point text</a:t>
            </a:r>
          </a:p>
          <a:p>
            <a:pPr lvl="2"/>
            <a:r>
              <a:rPr lang="en-US" dirty="0"/>
              <a:t>Third bullet level is Arial 18 point text</a:t>
            </a:r>
          </a:p>
          <a:p>
            <a:pPr lvl="3"/>
            <a:r>
              <a:rPr lang="en-US" dirty="0"/>
              <a:t>Fourth bullet level is Arial 16 point text</a:t>
            </a:r>
          </a:p>
          <a:p>
            <a:pPr lvl="4"/>
            <a:r>
              <a:rPr lang="en-US" dirty="0"/>
              <a:t>Fifth bullet level is Arial 16 point text</a:t>
            </a:r>
          </a:p>
        </p:txBody>
      </p:sp>
      <p:sp>
        <p:nvSpPr>
          <p:cNvPr id="2" name="Text Box: Title"/>
          <p:cNvSpPr>
            <a:spLocks noGrp="1" noChangeAspect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563"/>
              </a:spcBef>
              <a:defRPr b="0"/>
            </a:lvl1pPr>
          </a:lstStyle>
          <a:p>
            <a:r>
              <a:rPr lang="en-US" dirty="0"/>
              <a:t>Headline Text Goes Here 32pt Arial</a:t>
            </a:r>
          </a:p>
        </p:txBody>
      </p:sp>
      <p:sp>
        <p:nvSpPr>
          <p:cNvPr id="9" name="Footer: Slide Number"/>
          <p:cNvSpPr>
            <a:spLocks noGrp="1" noChangeAspect="1"/>
          </p:cNvSpPr>
          <p:nvPr>
            <p:ph type="sldNum" sz="quarter" idx="4"/>
          </p:nvPr>
        </p:nvSpPr>
        <p:spPr>
          <a:xfrm>
            <a:off x="8071622" y="4709693"/>
            <a:ext cx="700419" cy="2649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63">
                <a:solidFill>
                  <a:schemeClr val="accent1"/>
                </a:solidFill>
              </a:defRPr>
            </a:lvl1pPr>
          </a:lstStyle>
          <a:p>
            <a:fld id="{81BC661C-2700-4921-922A-F5117630EB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: Date"/>
          <p:cNvSpPr>
            <a:spLocks noGrp="1" noChangeAspect="1"/>
          </p:cNvSpPr>
          <p:nvPr>
            <p:ph type="dt" sz="half" idx="2"/>
          </p:nvPr>
        </p:nvSpPr>
        <p:spPr>
          <a:xfrm>
            <a:off x="360944" y="4709695"/>
            <a:ext cx="1673351" cy="25601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63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0386B9CD-E2BA-4153-BCC3-935F8EEBD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4600" y="4709694"/>
            <a:ext cx="4114800" cy="264931"/>
          </a:xfrm>
          <a:prstGeom prst="rect">
            <a:avLst/>
          </a:prstGeom>
        </p:spPr>
        <p:txBody>
          <a:bodyPr anchor="ctr"/>
          <a:lstStyle>
            <a:lvl1pPr algn="ctr">
              <a:defRPr sz="563">
                <a:solidFill>
                  <a:schemeClr val="accent1"/>
                </a:solidFill>
              </a:defRPr>
            </a:lvl1pPr>
          </a:lstStyle>
          <a:p>
            <a:r>
              <a:rPr lang="en-US"/>
              <a:t>Bluetooth SIG Proprietary and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71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3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95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7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447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40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30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34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78" r:id="rId3"/>
    <p:sldLayoutId id="2147483860" r:id="rId4"/>
    <p:sldLayoutId id="2147483955" r:id="rId5"/>
    <p:sldLayoutId id="2147483692" r:id="rId6"/>
    <p:sldLayoutId id="2147484176" r:id="rId7"/>
    <p:sldLayoutId id="2147484177" r:id="rId8"/>
    <p:sldLayoutId id="2147484184" r:id="rId9"/>
    <p:sldLayoutId id="2147483918" r:id="rId10"/>
    <p:sldLayoutId id="2147483742" r:id="rId11"/>
    <p:sldLayoutId id="2147484169" r:id="rId12"/>
    <p:sldLayoutId id="2147484142" r:id="rId13"/>
    <p:sldLayoutId id="2147484185" r:id="rId14"/>
    <p:sldLayoutId id="2147484186" r:id="rId15"/>
    <p:sldLayoutId id="2147484187" r:id="rId16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 userDrawn="1">
          <p15:clr>
            <a:srgbClr val="A4A3A4"/>
          </p15:clr>
        </p15:guide>
        <p15:guide id="14" pos="284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openxmlformats.org/officeDocument/2006/relationships/image" Target="../media/image11.emf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12" Type="http://schemas.openxmlformats.org/officeDocument/2006/relationships/image" Target="../media/image18.png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0.xml"/><Relationship Id="rId6" Type="http://schemas.openxmlformats.org/officeDocument/2006/relationships/image" Target="../media/image13.jpeg"/><Relationship Id="rId11" Type="http://schemas.openxmlformats.org/officeDocument/2006/relationships/image" Target="../media/image20.pn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openxmlformats.org/officeDocument/2006/relationships/image" Target="../media/image11.emf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he.net/uploadedFiles/Documents/PCD/IHE_PCD_Suppl_POU.pdf" TargetMode="External"/><Relationship Id="rId2" Type="http://schemas.openxmlformats.org/officeDocument/2006/relationships/hyperlink" Target="http://hl7.org/fhir/uv/phd/2019May/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2.jpeg"/><Relationship Id="rId7" Type="http://schemas.openxmlformats.org/officeDocument/2006/relationships/image" Target="../media/image17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4.png"/><Relationship Id="rId7" Type="http://schemas.openxmlformats.org/officeDocument/2006/relationships/image" Target="../media/image13.jpeg"/><Relationship Id="rId12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jpeg"/><Relationship Id="rId11" Type="http://schemas.openxmlformats.org/officeDocument/2006/relationships/hyperlink" Target="https://pngimg.com/download/25961" TargetMode="External"/><Relationship Id="rId5" Type="http://schemas.openxmlformats.org/officeDocument/2006/relationships/image" Target="../media/image11.emf"/><Relationship Id="rId10" Type="http://schemas.openxmlformats.org/officeDocument/2006/relationships/image" Target="../media/image27.png"/><Relationship Id="rId4" Type="http://schemas.openxmlformats.org/officeDocument/2006/relationships/image" Target="../media/image25.png"/><Relationship Id="rId9" Type="http://schemas.openxmlformats.org/officeDocument/2006/relationships/hyperlink" Target="https://github.com/philips-labs/BLE-GHS-Server-Simulato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8EA9D-BE95-6043-B689-A96A780C3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rik Mol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03BAB-1548-B44F-8E3D-85FE8CD026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hilips Resear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17C87F-2DCD-BF4B-A51C-A8A46AA7C9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eptember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41DCD1-7E07-4346-AC06-6E652593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COM and GHS</a:t>
            </a:r>
          </a:p>
          <a:p>
            <a:r>
              <a:rPr lang="en-US" sz="2000" dirty="0"/>
              <a:t>A unified model for personal health device communication</a:t>
            </a:r>
          </a:p>
          <a:p>
            <a:r>
              <a:rPr lang="en-US" sz="2000" dirty="0"/>
              <a:t>Supported on Bluetooth LE</a:t>
            </a:r>
          </a:p>
          <a:p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883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We introduced the IEEE Abstract Content Model for Personal Health Devices – ACOM in the context of HL7 FHIR-based healthcare systems:</a:t>
            </a:r>
          </a:p>
          <a:p>
            <a:endParaRPr lang="en-US" dirty="0"/>
          </a:p>
          <a:p>
            <a:r>
              <a:rPr lang="en-US" dirty="0"/>
              <a:t>ACOM solves a big interoperability problem and enables an ecosystem of connected personal health devices, apps, services</a:t>
            </a:r>
          </a:p>
          <a:p>
            <a:endParaRPr lang="en-US" dirty="0"/>
          </a:p>
          <a:p>
            <a:r>
              <a:rPr lang="en-US" dirty="0"/>
              <a:t>The Bluetooth SIG Generic Health Sensor service and profile specification support ACOM on top </a:t>
            </a:r>
            <a:r>
              <a:rPr lang="en-US"/>
              <a:t>of Bluetooth LE.</a:t>
            </a:r>
          </a:p>
          <a:p>
            <a:endParaRPr lang="en-US" dirty="0"/>
          </a:p>
          <a:p>
            <a:r>
              <a:rPr lang="en-US" dirty="0"/>
              <a:t>Some details:</a:t>
            </a:r>
          </a:p>
          <a:p>
            <a:pPr lvl="1"/>
            <a:r>
              <a:rPr lang="en-US" dirty="0"/>
              <a:t>IEEE 11073-10206 - ACOM defines a generic model for personal health devices and the observations these devices can generate</a:t>
            </a:r>
          </a:p>
          <a:p>
            <a:pPr lvl="1"/>
            <a:r>
              <a:rPr lang="en-US" dirty="0"/>
              <a:t>ACOM objects in this model can easily be mapped to FHIR resources</a:t>
            </a:r>
          </a:p>
          <a:p>
            <a:pPr lvl="1"/>
            <a:r>
              <a:rPr lang="en-US" dirty="0"/>
              <a:t>The Bluetooth Generic Health Sensor service and profile are based on ACOM and are in interop testing phase in the SIG</a:t>
            </a:r>
          </a:p>
          <a:p>
            <a:pPr lvl="1"/>
            <a:r>
              <a:rPr lang="en-US" dirty="0"/>
              <a:t>ACOM and GHS enable build-once gateways to get PHD Observations into FHIR servers</a:t>
            </a:r>
          </a:p>
          <a:p>
            <a:pPr lvl="1"/>
            <a:r>
              <a:rPr lang="en-US" dirty="0"/>
              <a:t>GHS demonstrators and source code are available on Android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47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505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2435D5-9039-154A-BC4A-C5381E6644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6733" y="982456"/>
            <a:ext cx="8135939" cy="1972965"/>
          </a:xfrm>
        </p:spPr>
        <p:txBody>
          <a:bodyPr/>
          <a:lstStyle/>
          <a:p>
            <a:r>
              <a:rPr lang="en-US" dirty="0"/>
              <a:t>Personal health devices are abundantly available in most markets and are quite often connected and come with an application running on a smart phone, a tablet or sometimes a PC.</a:t>
            </a:r>
          </a:p>
          <a:p>
            <a:r>
              <a:rPr lang="en-US" dirty="0"/>
              <a:t>In most cases Bluetooth (Low Energy) is used to connect these devices. Sometimes USB, Wi-Fi or cellular connectivity is supported.</a:t>
            </a:r>
          </a:p>
          <a:p>
            <a:r>
              <a:rPr lang="en-US" dirty="0"/>
              <a:t>For remote patient monitoring, personal health &amp; fitness tracking and many other use cases it is desired to integrate data from such devices in one place, one service for the patient or user.</a:t>
            </a:r>
          </a:p>
          <a:p>
            <a:r>
              <a:rPr lang="en-US" dirty="0"/>
              <a:t>Today, September 2022, there is still no good, generic, interoperable standard solution for personal health device communication.</a:t>
            </a:r>
          </a:p>
          <a:p>
            <a:r>
              <a:rPr lang="en-US" dirty="0"/>
              <a:t>As a result, for each PHD dedicated software is needed in devices, apps, gateways, servers =&gt; costly!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892BE1E-4099-23C5-A65F-83E33EDE62D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C"/>
              </a:clrFrom>
              <a:clrTo>
                <a:srgbClr val="FFFFFC">
                  <a:alpha val="0"/>
                </a:srgbClr>
              </a:clrTo>
            </a:clrChange>
          </a:blip>
          <a:srcRect t="6671" r="10925" b="23243"/>
          <a:stretch/>
        </p:blipFill>
        <p:spPr>
          <a:xfrm>
            <a:off x="758491" y="4222397"/>
            <a:ext cx="590180" cy="611766"/>
          </a:xfrm>
          <a:prstGeom prst="rect">
            <a:avLst/>
          </a:prstGeom>
        </p:spPr>
      </p:pic>
      <p:pic>
        <p:nvPicPr>
          <p:cNvPr id="21" name="Picture 20" descr="Afbeeldingsresultaat voor a&amp;d medical blood pressure monitor">
            <a:extLst>
              <a:ext uri="{FF2B5EF4-FFF2-40B4-BE49-F238E27FC236}">
                <a16:creationId xmlns:a16="http://schemas.microsoft.com/office/drawing/2014/main" id="{B951672E-5522-C55F-D2F2-619248FF1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02" y="3661069"/>
            <a:ext cx="949460" cy="66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Afbeeldingsresultaat voor polar bluetooth weight scale">
            <a:extLst>
              <a:ext uri="{FF2B5EF4-FFF2-40B4-BE49-F238E27FC236}">
                <a16:creationId xmlns:a16="http://schemas.microsoft.com/office/drawing/2014/main" id="{1B415516-78EF-443F-E2D0-4DA18A27D5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100" y="4110371"/>
            <a:ext cx="806532" cy="791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F2B330E-45A3-646A-BE5A-73D7C0A6FD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403" y="4099573"/>
            <a:ext cx="924165" cy="696564"/>
          </a:xfrm>
          <a:prstGeom prst="rect">
            <a:avLst/>
          </a:prstGeom>
        </p:spPr>
      </p:pic>
      <p:sp>
        <p:nvSpPr>
          <p:cNvPr id="24" name="Rounded Rectangle 9">
            <a:extLst>
              <a:ext uri="{FF2B5EF4-FFF2-40B4-BE49-F238E27FC236}">
                <a16:creationId xmlns:a16="http://schemas.microsoft.com/office/drawing/2014/main" id="{C460C21D-6463-0A6F-57D9-143E574B8AFF}"/>
              </a:ext>
            </a:extLst>
          </p:cNvPr>
          <p:cNvSpPr/>
          <p:nvPr/>
        </p:nvSpPr>
        <p:spPr>
          <a:xfrm>
            <a:off x="623004" y="3192689"/>
            <a:ext cx="1891902" cy="1792554"/>
          </a:xfrm>
          <a:prstGeom prst="roundRect">
            <a:avLst>
              <a:gd name="adj" fmla="val 12253"/>
            </a:avLst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t" anchorCtr="0"/>
          <a:lstStyle/>
          <a:p>
            <a:pPr algn="ctr" defTabSz="1219170">
              <a:defRPr/>
            </a:pPr>
            <a:r>
              <a:rPr lang="en-US" sz="1400" dirty="0">
                <a:solidFill>
                  <a:srgbClr val="4454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ersonal Health Devices</a:t>
            </a:r>
          </a:p>
        </p:txBody>
      </p:sp>
      <p:sp>
        <p:nvSpPr>
          <p:cNvPr id="25" name="Rounded Rectangle 10">
            <a:extLst>
              <a:ext uri="{FF2B5EF4-FFF2-40B4-BE49-F238E27FC236}">
                <a16:creationId xmlns:a16="http://schemas.microsoft.com/office/drawing/2014/main" id="{CEFD3CB5-16D0-BA7F-12ED-D522FF11DD6C}"/>
              </a:ext>
            </a:extLst>
          </p:cNvPr>
          <p:cNvSpPr/>
          <p:nvPr/>
        </p:nvSpPr>
        <p:spPr>
          <a:xfrm>
            <a:off x="3862679" y="3554296"/>
            <a:ext cx="1534141" cy="1500935"/>
          </a:xfrm>
          <a:prstGeom prst="roundRect">
            <a:avLst>
              <a:gd name="adj" fmla="val 12253"/>
            </a:avLst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t" anchorCtr="0"/>
          <a:lstStyle/>
          <a:p>
            <a:pPr algn="ctr" defTabSz="1219170">
              <a:defRPr/>
            </a:pPr>
            <a:r>
              <a:rPr lang="en-US" sz="1400" dirty="0">
                <a:solidFill>
                  <a:srgbClr val="4454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roprietary apps and gateway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BFAD719-A334-39FA-40D0-4770DE3FE8C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703" y="4175975"/>
            <a:ext cx="635369" cy="591224"/>
          </a:xfrm>
          <a:prstGeom prst="rect">
            <a:avLst/>
          </a:prstGeom>
        </p:spPr>
      </p:pic>
      <p:sp>
        <p:nvSpPr>
          <p:cNvPr id="27" name="Left-Right Arrow 8">
            <a:extLst>
              <a:ext uri="{FF2B5EF4-FFF2-40B4-BE49-F238E27FC236}">
                <a16:creationId xmlns:a16="http://schemas.microsoft.com/office/drawing/2014/main" id="{3C48B079-9232-3309-B6E9-04E4CB211E1E}"/>
              </a:ext>
            </a:extLst>
          </p:cNvPr>
          <p:cNvSpPr/>
          <p:nvPr/>
        </p:nvSpPr>
        <p:spPr>
          <a:xfrm>
            <a:off x="2487990" y="3542699"/>
            <a:ext cx="1167581" cy="1174937"/>
          </a:xfrm>
          <a:prstGeom prst="leftRightArrow">
            <a:avLst>
              <a:gd name="adj1" fmla="val 79822"/>
              <a:gd name="adj2" fmla="val 14767"/>
            </a:avLst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protocols over Bluetooth ®</a:t>
            </a:r>
          </a:p>
        </p:txBody>
      </p:sp>
      <p:sp>
        <p:nvSpPr>
          <p:cNvPr id="28" name="Rounded Rectangle 10">
            <a:extLst>
              <a:ext uri="{FF2B5EF4-FFF2-40B4-BE49-F238E27FC236}">
                <a16:creationId xmlns:a16="http://schemas.microsoft.com/office/drawing/2014/main" id="{46B08FB9-3D4D-5DCD-B045-C28524E75965}"/>
              </a:ext>
            </a:extLst>
          </p:cNvPr>
          <p:cNvSpPr/>
          <p:nvPr/>
        </p:nvSpPr>
        <p:spPr>
          <a:xfrm>
            <a:off x="6728326" y="3192689"/>
            <a:ext cx="1609730" cy="1792554"/>
          </a:xfrm>
          <a:prstGeom prst="roundRect">
            <a:avLst>
              <a:gd name="adj" fmla="val 12253"/>
            </a:avLst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t" anchorCtr="0"/>
          <a:lstStyle/>
          <a:p>
            <a:pPr algn="ctr" defTabSz="1219170">
              <a:defRPr/>
            </a:pPr>
            <a:r>
              <a:rPr lang="en-US" sz="1400" dirty="0">
                <a:solidFill>
                  <a:srgbClr val="4454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loud-based</a:t>
            </a:r>
          </a:p>
          <a:p>
            <a:pPr algn="ctr" defTabSz="1219170">
              <a:defRPr/>
            </a:pPr>
            <a:r>
              <a:rPr lang="en-US" sz="1400" dirty="0">
                <a:solidFill>
                  <a:srgbClr val="4454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roprietary services</a:t>
            </a:r>
          </a:p>
        </p:txBody>
      </p:sp>
      <p:sp>
        <p:nvSpPr>
          <p:cNvPr id="29" name="Left-Right Arrow 8">
            <a:extLst>
              <a:ext uri="{FF2B5EF4-FFF2-40B4-BE49-F238E27FC236}">
                <a16:creationId xmlns:a16="http://schemas.microsoft.com/office/drawing/2014/main" id="{8D6A4266-8EB2-F9F1-218E-ABC4079C550E}"/>
              </a:ext>
            </a:extLst>
          </p:cNvPr>
          <p:cNvSpPr/>
          <p:nvPr/>
        </p:nvSpPr>
        <p:spPr>
          <a:xfrm>
            <a:off x="2528810" y="3151417"/>
            <a:ext cx="4034029" cy="342933"/>
          </a:xfrm>
          <a:prstGeom prst="leftRightArrow">
            <a:avLst>
              <a:gd name="adj1" fmla="val 79822"/>
              <a:gd name="adj2" fmla="val 14767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Direct-to-Cloud (D2C) protocols</a:t>
            </a:r>
          </a:p>
        </p:txBody>
      </p:sp>
      <p:sp>
        <p:nvSpPr>
          <p:cNvPr id="30" name="Left-Right Arrow 8">
            <a:extLst>
              <a:ext uri="{FF2B5EF4-FFF2-40B4-BE49-F238E27FC236}">
                <a16:creationId xmlns:a16="http://schemas.microsoft.com/office/drawing/2014/main" id="{912C6415-5CEF-3527-1CCB-4BC0319FBC78}"/>
              </a:ext>
            </a:extLst>
          </p:cNvPr>
          <p:cNvSpPr/>
          <p:nvPr/>
        </p:nvSpPr>
        <p:spPr>
          <a:xfrm>
            <a:off x="5306731" y="3748927"/>
            <a:ext cx="1230837" cy="764142"/>
          </a:xfrm>
          <a:prstGeom prst="leftRightArrow">
            <a:avLst>
              <a:gd name="adj1" fmla="val 79822"/>
              <a:gd name="adj2" fmla="val 14767"/>
            </a:avLst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data upload and retrieval</a:t>
            </a:r>
          </a:p>
        </p:txBody>
      </p:sp>
      <p:pic>
        <p:nvPicPr>
          <p:cNvPr id="33" name="Picture 4" descr="Set-top box Images, Stock Photos &amp; Vectors | Shutterstock">
            <a:extLst>
              <a:ext uri="{FF2B5EF4-FFF2-40B4-BE49-F238E27FC236}">
                <a16:creationId xmlns:a16="http://schemas.microsoft.com/office/drawing/2014/main" id="{99B84517-7309-4A82-2FF3-7E85246056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" t="21216" r="9943" b="28926"/>
          <a:stretch/>
        </p:blipFill>
        <p:spPr bwMode="auto">
          <a:xfrm>
            <a:off x="4031801" y="4691512"/>
            <a:ext cx="924165" cy="35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4C5C99A-F5C2-2C2D-60D1-08586DC3E3A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8536" y="4475601"/>
            <a:ext cx="385333" cy="358562"/>
          </a:xfrm>
          <a:prstGeom prst="rect">
            <a:avLst/>
          </a:prstGeom>
        </p:spPr>
      </p:pic>
      <p:sp>
        <p:nvSpPr>
          <p:cNvPr id="36" name="Left-Right Arrow 8">
            <a:extLst>
              <a:ext uri="{FF2B5EF4-FFF2-40B4-BE49-F238E27FC236}">
                <a16:creationId xmlns:a16="http://schemas.microsoft.com/office/drawing/2014/main" id="{326F7DB2-F710-C34D-4A5F-A65A5F8EB810}"/>
              </a:ext>
            </a:extLst>
          </p:cNvPr>
          <p:cNvSpPr/>
          <p:nvPr/>
        </p:nvSpPr>
        <p:spPr>
          <a:xfrm>
            <a:off x="5459131" y="3901327"/>
            <a:ext cx="1230837" cy="764142"/>
          </a:xfrm>
          <a:prstGeom prst="leftRightArrow">
            <a:avLst>
              <a:gd name="adj1" fmla="val 79822"/>
              <a:gd name="adj2" fmla="val 14767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data upload and retrieval</a:t>
            </a:r>
          </a:p>
        </p:txBody>
      </p:sp>
      <p:sp>
        <p:nvSpPr>
          <p:cNvPr id="37" name="Left-Right Arrow 8">
            <a:extLst>
              <a:ext uri="{FF2B5EF4-FFF2-40B4-BE49-F238E27FC236}">
                <a16:creationId xmlns:a16="http://schemas.microsoft.com/office/drawing/2014/main" id="{1169F5F9-2EAA-AB76-2391-AEE0DA53045C}"/>
              </a:ext>
            </a:extLst>
          </p:cNvPr>
          <p:cNvSpPr/>
          <p:nvPr/>
        </p:nvSpPr>
        <p:spPr>
          <a:xfrm>
            <a:off x="5611531" y="4053727"/>
            <a:ext cx="1230837" cy="764142"/>
          </a:xfrm>
          <a:prstGeom prst="leftRightArrow">
            <a:avLst>
              <a:gd name="adj1" fmla="val 79822"/>
              <a:gd name="adj2" fmla="val 147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data upload and retrieval</a:t>
            </a:r>
          </a:p>
        </p:txBody>
      </p:sp>
      <p:sp>
        <p:nvSpPr>
          <p:cNvPr id="38" name="Left-Right Arrow 8">
            <a:extLst>
              <a:ext uri="{FF2B5EF4-FFF2-40B4-BE49-F238E27FC236}">
                <a16:creationId xmlns:a16="http://schemas.microsoft.com/office/drawing/2014/main" id="{226A43B9-67B4-178C-2589-DEF5989360A8}"/>
              </a:ext>
            </a:extLst>
          </p:cNvPr>
          <p:cNvSpPr/>
          <p:nvPr/>
        </p:nvSpPr>
        <p:spPr>
          <a:xfrm>
            <a:off x="2640390" y="3695099"/>
            <a:ext cx="1167581" cy="1174937"/>
          </a:xfrm>
          <a:prstGeom prst="leftRightArrow">
            <a:avLst>
              <a:gd name="adj1" fmla="val 79822"/>
              <a:gd name="adj2" fmla="val 147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protocols over Bluetooth ®</a:t>
            </a:r>
          </a:p>
        </p:txBody>
      </p:sp>
      <p:sp>
        <p:nvSpPr>
          <p:cNvPr id="39" name="Left-Right Arrow 8">
            <a:extLst>
              <a:ext uri="{FF2B5EF4-FFF2-40B4-BE49-F238E27FC236}">
                <a16:creationId xmlns:a16="http://schemas.microsoft.com/office/drawing/2014/main" id="{6257ED86-E475-1FD4-C7D6-50871B0B3CBA}"/>
              </a:ext>
            </a:extLst>
          </p:cNvPr>
          <p:cNvSpPr/>
          <p:nvPr/>
        </p:nvSpPr>
        <p:spPr>
          <a:xfrm>
            <a:off x="2792790" y="3847499"/>
            <a:ext cx="1167581" cy="1174937"/>
          </a:xfrm>
          <a:prstGeom prst="leftRightArrow">
            <a:avLst>
              <a:gd name="adj1" fmla="val 79822"/>
              <a:gd name="adj2" fmla="val 147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protocols over Bluetooth ®</a:t>
            </a:r>
          </a:p>
        </p:txBody>
      </p:sp>
      <p:sp>
        <p:nvSpPr>
          <p:cNvPr id="40" name="Left-Right Arrow 8">
            <a:extLst>
              <a:ext uri="{FF2B5EF4-FFF2-40B4-BE49-F238E27FC236}">
                <a16:creationId xmlns:a16="http://schemas.microsoft.com/office/drawing/2014/main" id="{5AF48F01-3C23-4CF2-5217-855865041146}"/>
              </a:ext>
            </a:extLst>
          </p:cNvPr>
          <p:cNvSpPr/>
          <p:nvPr/>
        </p:nvSpPr>
        <p:spPr>
          <a:xfrm>
            <a:off x="2694297" y="3074222"/>
            <a:ext cx="4034029" cy="342933"/>
          </a:xfrm>
          <a:prstGeom prst="leftRightArrow">
            <a:avLst>
              <a:gd name="adj1" fmla="val 79822"/>
              <a:gd name="adj2" fmla="val 147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Proprietary Direct-to-Cloud (D2C) protocols</a:t>
            </a:r>
          </a:p>
        </p:txBody>
      </p:sp>
      <p:sp>
        <p:nvSpPr>
          <p:cNvPr id="41" name="Curved Left Arrow 40">
            <a:extLst>
              <a:ext uri="{FF2B5EF4-FFF2-40B4-BE49-F238E27FC236}">
                <a16:creationId xmlns:a16="http://schemas.microsoft.com/office/drawing/2014/main" id="{DC9ADE24-2E8C-95D9-CE9C-DCF16036F1D6}"/>
              </a:ext>
            </a:extLst>
          </p:cNvPr>
          <p:cNvSpPr/>
          <p:nvPr/>
        </p:nvSpPr>
        <p:spPr>
          <a:xfrm>
            <a:off x="8503543" y="3695099"/>
            <a:ext cx="539552" cy="718582"/>
          </a:xfrm>
          <a:prstGeom prst="curvedLeftArrow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Rounded Rectangle 10">
            <a:extLst>
              <a:ext uri="{FF2B5EF4-FFF2-40B4-BE49-F238E27FC236}">
                <a16:creationId xmlns:a16="http://schemas.microsoft.com/office/drawing/2014/main" id="{A87F486D-5B35-678E-1E2D-20CB8B3478DD}"/>
              </a:ext>
            </a:extLst>
          </p:cNvPr>
          <p:cNvSpPr/>
          <p:nvPr/>
        </p:nvSpPr>
        <p:spPr>
          <a:xfrm>
            <a:off x="6880726" y="3311156"/>
            <a:ext cx="1609730" cy="1792554"/>
          </a:xfrm>
          <a:prstGeom prst="roundRect">
            <a:avLst>
              <a:gd name="adj" fmla="val 12253"/>
            </a:avLst>
          </a:prstGeom>
          <a:solidFill>
            <a:schemeClr val="bg1"/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t" anchorCtr="0"/>
          <a:lstStyle/>
          <a:p>
            <a:pPr algn="ctr" defTabSz="1219170">
              <a:defRPr/>
            </a:pPr>
            <a:r>
              <a:rPr lang="en-US" sz="1400" dirty="0">
                <a:solidFill>
                  <a:srgbClr val="4454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loud-based</a:t>
            </a:r>
          </a:p>
          <a:p>
            <a:pPr algn="ctr" defTabSz="1219170">
              <a:defRPr/>
            </a:pPr>
            <a:r>
              <a:rPr lang="en-US" sz="1400" dirty="0">
                <a:solidFill>
                  <a:srgbClr val="4454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roprietary services</a:t>
            </a:r>
          </a:p>
        </p:txBody>
      </p:sp>
      <p:sp>
        <p:nvSpPr>
          <p:cNvPr id="43" name="Curved Left Arrow 42">
            <a:extLst>
              <a:ext uri="{FF2B5EF4-FFF2-40B4-BE49-F238E27FC236}">
                <a16:creationId xmlns:a16="http://schemas.microsoft.com/office/drawing/2014/main" id="{F4DB3AF0-D380-0FFF-15AC-1F41A903F8BF}"/>
              </a:ext>
            </a:extLst>
          </p:cNvPr>
          <p:cNvSpPr/>
          <p:nvPr/>
        </p:nvSpPr>
        <p:spPr>
          <a:xfrm>
            <a:off x="8495670" y="3972930"/>
            <a:ext cx="539552" cy="718582"/>
          </a:xfrm>
          <a:prstGeom prst="curvedLeftArrow">
            <a:avLst/>
          </a:prstGeom>
          <a:solidFill>
            <a:schemeClr val="accent5">
              <a:lumMod val="40000"/>
              <a:lumOff val="60000"/>
            </a:schemeClr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8231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8273B17-F7DE-422B-B739-5AC78189B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lution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FB58740-A73F-4F01-85C8-D0E8501F5D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051" y="915566"/>
            <a:ext cx="6875487" cy="3484800"/>
          </a:xfrm>
        </p:spPr>
        <p:txBody>
          <a:bodyPr/>
          <a:lstStyle/>
          <a:p>
            <a:r>
              <a:rPr lang="en-US" sz="1600" dirty="0"/>
              <a:t>HL7 FHIR:</a:t>
            </a:r>
          </a:p>
          <a:p>
            <a:pPr lvl="1"/>
            <a:r>
              <a:rPr lang="en-US" sz="1400" dirty="0"/>
              <a:t>The healthcare IT world is moving towards HL7 FHIR as the application-level language to achieve interoperability of healthcare data in and around the hospital.</a:t>
            </a:r>
          </a:p>
          <a:p>
            <a:pPr lvl="1"/>
            <a:r>
              <a:rPr lang="en-US" sz="1400" dirty="0"/>
              <a:t>Regulations in US and EU require healthcare IT systems to open up their data via a FHIR interface</a:t>
            </a:r>
          </a:p>
          <a:p>
            <a:pPr lvl="1"/>
            <a:r>
              <a:rPr lang="en-US" sz="1400" dirty="0"/>
              <a:t>This helps a lot but does not yet solve the PHD communication diversity and that is where ACOM comes into play.</a:t>
            </a:r>
          </a:p>
          <a:p>
            <a:r>
              <a:rPr lang="en-US" sz="1600" dirty="0"/>
              <a:t>IEEE 11073-10206 ACOM:</a:t>
            </a:r>
          </a:p>
          <a:p>
            <a:pPr lvl="1"/>
            <a:r>
              <a:rPr lang="en-US" sz="1400" dirty="0"/>
              <a:t>ACOM stands for “Abstract Content Model”</a:t>
            </a:r>
          </a:p>
          <a:p>
            <a:pPr lvl="1"/>
            <a:r>
              <a:rPr lang="en-US" sz="1400" dirty="0"/>
              <a:t>ACOM defines a model based on the IEEE 11073 Domain Information Model (DIM) and nomenclature standard for medical device communication</a:t>
            </a:r>
          </a:p>
          <a:p>
            <a:pPr lvl="1"/>
            <a:r>
              <a:rPr lang="en-US" sz="1400" dirty="0"/>
              <a:t>ACOM objects and attributes map 1-1 to HL7 FHIR resources using JSON or XML.</a:t>
            </a:r>
          </a:p>
          <a:p>
            <a:pPr lvl="1"/>
            <a:r>
              <a:rPr lang="en-US" sz="1400" dirty="0"/>
              <a:t>ACOM is implemented in a binary protocol on Bluetooth LE – the Generic Health Sensor profile and service (GHS).</a:t>
            </a:r>
          </a:p>
          <a:p>
            <a:pPr lvl="1"/>
            <a:r>
              <a:rPr lang="en-US" sz="1400" dirty="0"/>
              <a:t>ACOM can be used by cellular IoT health sensor devices using a binary or JSON format</a:t>
            </a:r>
          </a:p>
          <a:p>
            <a:pPr lvl="1"/>
            <a:endParaRPr lang="en-US" sz="1400" dirty="0"/>
          </a:p>
          <a:p>
            <a:r>
              <a:rPr lang="en-US" sz="1600" dirty="0"/>
              <a:t>Within various working groups of IEEE, IHE and the Bluetooth SIG we developed the ACOM specification and protocols using it.</a:t>
            </a:r>
          </a:p>
          <a:p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ACA407-FD17-493D-ADA0-8C2FA14AB6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2411995"/>
            <a:ext cx="1470553" cy="588221"/>
          </a:xfrm>
          <a:prstGeom prst="rect">
            <a:avLst/>
          </a:prstGeom>
        </p:spPr>
      </p:pic>
      <p:pic>
        <p:nvPicPr>
          <p:cNvPr id="9" name="Content Placeholder 4" descr="Icon&#10;&#10;Description automatically generated">
            <a:extLst>
              <a:ext uri="{FF2B5EF4-FFF2-40B4-BE49-F238E27FC236}">
                <a16:creationId xmlns:a16="http://schemas.microsoft.com/office/drawing/2014/main" id="{1A8D8E97-B403-4AF5-A655-10BD849DDA5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1811572"/>
            <a:ext cx="1513180" cy="483911"/>
          </a:xfrm>
          <a:prstGeom prst="rect">
            <a:avLst/>
          </a:prstGeom>
        </p:spPr>
      </p:pic>
      <p:pic>
        <p:nvPicPr>
          <p:cNvPr id="10" name="Picture 2" descr="FHIR and the Real Challenge of Health Data ...">
            <a:extLst>
              <a:ext uri="{FF2B5EF4-FFF2-40B4-BE49-F238E27FC236}">
                <a16:creationId xmlns:a16="http://schemas.microsoft.com/office/drawing/2014/main" id="{1ABE9A95-5122-4C72-85D7-8C1BD6B22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625" y="1095375"/>
            <a:ext cx="1266928" cy="5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HealthShare and HL7, FHIR, X12, DICOM, ASTM, NCPDP, IHE ...">
            <a:extLst>
              <a:ext uri="{FF2B5EF4-FFF2-40B4-BE49-F238E27FC236}">
                <a16:creationId xmlns:a16="http://schemas.microsoft.com/office/drawing/2014/main" id="{C0995CF9-02A6-4643-ACE6-3049FC07E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905" y="3116104"/>
            <a:ext cx="1436417" cy="39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25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lution: ACOM + FHI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2435D5-9039-154A-BC4A-C5381E6644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6733" y="915567"/>
            <a:ext cx="8135939" cy="1871770"/>
          </a:xfrm>
        </p:spPr>
        <p:txBody>
          <a:bodyPr/>
          <a:lstStyle/>
          <a:p>
            <a:r>
              <a:rPr lang="en-US" dirty="0"/>
              <a:t>Build once </a:t>
            </a:r>
          </a:p>
          <a:p>
            <a:pPr lvl="1"/>
            <a:r>
              <a:rPr lang="en-US" dirty="0"/>
              <a:t>ACOM + FHIR enable a generic solution to connect sensor devices to apps, gateways and to cloud services</a:t>
            </a:r>
          </a:p>
          <a:p>
            <a:r>
              <a:rPr lang="en-US" dirty="0"/>
              <a:t>Extendable / flexible solution</a:t>
            </a:r>
          </a:p>
          <a:p>
            <a:pPr lvl="1"/>
            <a:r>
              <a:rPr lang="en-US" dirty="0"/>
              <a:t>Sensor types can be added without coding in apps / gateways / servers</a:t>
            </a:r>
          </a:p>
          <a:p>
            <a:pPr lvl="1"/>
            <a:r>
              <a:rPr lang="en-US" dirty="0"/>
              <a:t>The set of supported Observations can be extended without coding</a:t>
            </a:r>
          </a:p>
          <a:p>
            <a:pPr lvl="1"/>
            <a:r>
              <a:rPr lang="en-US" dirty="0"/>
              <a:t>Many device types / specializations are defined already in IEEE 11073 in an ACOM-compatible manner</a:t>
            </a:r>
          </a:p>
          <a:p>
            <a:r>
              <a:rPr lang="en-US" dirty="0"/>
              <a:t>Enables an end-to-end ecosystem </a:t>
            </a:r>
          </a:p>
          <a:p>
            <a:pPr lvl="1"/>
            <a:r>
              <a:rPr lang="en-US" dirty="0"/>
              <a:t>Based on one conceptual model of health devices and generated observations using a recognized nomenclature system</a:t>
            </a:r>
          </a:p>
          <a:p>
            <a:pPr lvl="1"/>
            <a:r>
              <a:rPr lang="en-US" dirty="0"/>
              <a:t>Suitable for [personal] health sensor devices at home, in the hospital and elsewhere (health &amp; fitness, elderly care)</a:t>
            </a:r>
          </a:p>
          <a:p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63E70D0-AAE2-0B27-B605-A585F16297DE}"/>
              </a:ext>
            </a:extLst>
          </p:cNvPr>
          <p:cNvGrpSpPr/>
          <p:nvPr/>
        </p:nvGrpSpPr>
        <p:grpSpPr>
          <a:xfrm>
            <a:off x="755576" y="3147814"/>
            <a:ext cx="7539007" cy="1907417"/>
            <a:chOff x="216879" y="1259342"/>
            <a:chExt cx="11681441" cy="329440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892BE1E-4099-23C5-A65F-83E33EDE62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C"/>
                </a:clrFrom>
                <a:clrTo>
                  <a:srgbClr val="FFFFFC">
                    <a:alpha val="0"/>
                  </a:srgbClr>
                </a:clrTo>
              </a:clrChange>
            </a:blip>
            <a:srcRect t="6671" r="10925" b="23243"/>
            <a:stretch/>
          </p:blipFill>
          <p:spPr>
            <a:xfrm>
              <a:off x="375958" y="3058744"/>
              <a:ext cx="914465" cy="1056616"/>
            </a:xfrm>
            <a:prstGeom prst="rect">
              <a:avLst/>
            </a:prstGeom>
          </p:spPr>
        </p:pic>
        <p:pic>
          <p:nvPicPr>
            <p:cNvPr id="21" name="Picture 20" descr="Afbeeldingsresultaat voor a&amp;d medical blood pressure monitor">
              <a:extLst>
                <a:ext uri="{FF2B5EF4-FFF2-40B4-BE49-F238E27FC236}">
                  <a16:creationId xmlns:a16="http://schemas.microsoft.com/office/drawing/2014/main" id="{B951672E-5522-C55F-D2F2-619248FF19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2143127"/>
              <a:ext cx="1471157" cy="1142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6" descr="Afbeeldingsresultaat voor polar bluetooth weight scale">
              <a:extLst>
                <a:ext uri="{FF2B5EF4-FFF2-40B4-BE49-F238E27FC236}">
                  <a16:creationId xmlns:a16="http://schemas.microsoft.com/office/drawing/2014/main" id="{1B415516-78EF-443F-E2D0-4DA18A27D5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4261" y="2903178"/>
              <a:ext cx="1249695" cy="1367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F2B330E-45A3-646A-BE5A-73D7C0A6F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859" y="2903178"/>
              <a:ext cx="1431963" cy="1203075"/>
            </a:xfrm>
            <a:prstGeom prst="rect">
              <a:avLst/>
            </a:prstGeom>
          </p:spPr>
        </p:pic>
        <p:sp>
          <p:nvSpPr>
            <p:cNvPr id="24" name="Rounded Rectangle 9">
              <a:extLst>
                <a:ext uri="{FF2B5EF4-FFF2-40B4-BE49-F238E27FC236}">
                  <a16:creationId xmlns:a16="http://schemas.microsoft.com/office/drawing/2014/main" id="{C460C21D-6463-0A6F-57D9-143E574B8AFF}"/>
                </a:ext>
              </a:extLst>
            </p:cNvPr>
            <p:cNvSpPr/>
            <p:nvPr/>
          </p:nvSpPr>
          <p:spPr>
            <a:xfrm>
              <a:off x="216879" y="1308868"/>
              <a:ext cx="2931440" cy="3096021"/>
            </a:xfrm>
            <a:prstGeom prst="roundRect">
              <a:avLst>
                <a:gd name="adj" fmla="val 12253"/>
              </a:avLst>
            </a:prstGeom>
            <a:no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0" rtlCol="0" anchor="t" anchorCtr="0"/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rgbClr val="4454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Personal Health Devices</a:t>
              </a:r>
            </a:p>
          </p:txBody>
        </p:sp>
        <p:sp>
          <p:nvSpPr>
            <p:cNvPr id="25" name="Rounded Rectangle 10">
              <a:extLst>
                <a:ext uri="{FF2B5EF4-FFF2-40B4-BE49-F238E27FC236}">
                  <a16:creationId xmlns:a16="http://schemas.microsoft.com/office/drawing/2014/main" id="{CEFD3CB5-16D0-BA7F-12ED-D522FF11DD6C}"/>
                </a:ext>
              </a:extLst>
            </p:cNvPr>
            <p:cNvSpPr/>
            <p:nvPr/>
          </p:nvSpPr>
          <p:spPr>
            <a:xfrm>
              <a:off x="5031232" y="1961400"/>
              <a:ext cx="2377101" cy="2592349"/>
            </a:xfrm>
            <a:prstGeom prst="roundRect">
              <a:avLst>
                <a:gd name="adj" fmla="val 12253"/>
              </a:avLst>
            </a:prstGeom>
            <a:no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0" rtlCol="0" anchor="t" anchorCtr="0"/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rgbClr val="4454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Generic apps and gateways</a:t>
              </a: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1BFAD719-A334-39FA-40D0-4770DE3FE8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9984" y="3035137"/>
              <a:ext cx="984483" cy="1021136"/>
            </a:xfrm>
            <a:prstGeom prst="rect">
              <a:avLst/>
            </a:prstGeom>
          </p:spPr>
        </p:pic>
        <p:sp>
          <p:nvSpPr>
            <p:cNvPr id="27" name="Left-Right Arrow 8">
              <a:extLst>
                <a:ext uri="{FF2B5EF4-FFF2-40B4-BE49-F238E27FC236}">
                  <a16:creationId xmlns:a16="http://schemas.microsoft.com/office/drawing/2014/main" id="{3C48B079-9232-3309-B6E9-04E4CB211E1E}"/>
                </a:ext>
              </a:extLst>
            </p:cNvPr>
            <p:cNvSpPr/>
            <p:nvPr/>
          </p:nvSpPr>
          <p:spPr>
            <a:xfrm>
              <a:off x="3168362" y="2063148"/>
              <a:ext cx="1809128" cy="2029300"/>
            </a:xfrm>
            <a:prstGeom prst="leftRightArrow">
              <a:avLst>
                <a:gd name="adj1" fmla="val 79822"/>
                <a:gd name="adj2" fmla="val 147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r>
                <a:rPr lang="en-US" sz="1100" dirty="0">
                  <a:solidFill>
                    <a:prstClr val="white"/>
                  </a:solidFill>
                  <a:latin typeface="Calibri" panose="020F0502020204030204"/>
                </a:rPr>
                <a:t>ACOM / GHS @ Bluetooth (LE)</a:t>
              </a:r>
            </a:p>
          </p:txBody>
        </p:sp>
        <p:sp>
          <p:nvSpPr>
            <p:cNvPr id="28" name="Rounded Rectangle 10">
              <a:extLst>
                <a:ext uri="{FF2B5EF4-FFF2-40B4-BE49-F238E27FC236}">
                  <a16:creationId xmlns:a16="http://schemas.microsoft.com/office/drawing/2014/main" id="{46B08FB9-3D4D-5DCD-B045-C28524E75965}"/>
                </a:ext>
              </a:extLst>
            </p:cNvPr>
            <p:cNvSpPr/>
            <p:nvPr/>
          </p:nvSpPr>
          <p:spPr>
            <a:xfrm>
              <a:off x="9404097" y="1259342"/>
              <a:ext cx="2494223" cy="3096021"/>
            </a:xfrm>
            <a:prstGeom prst="roundRect">
              <a:avLst>
                <a:gd name="adj" fmla="val 12253"/>
              </a:avLst>
            </a:prstGeom>
            <a:no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0" rtlCol="0" anchor="t" anchorCtr="0"/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rgbClr val="4454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FHIR servers</a:t>
              </a:r>
            </a:p>
          </p:txBody>
        </p:sp>
        <p:sp>
          <p:nvSpPr>
            <p:cNvPr id="29" name="Left-Right Arrow 8">
              <a:extLst>
                <a:ext uri="{FF2B5EF4-FFF2-40B4-BE49-F238E27FC236}">
                  <a16:creationId xmlns:a16="http://schemas.microsoft.com/office/drawing/2014/main" id="{8D6A4266-8EB2-F9F1-218E-ABC4079C550E}"/>
                </a:ext>
              </a:extLst>
            </p:cNvPr>
            <p:cNvSpPr/>
            <p:nvPr/>
          </p:nvSpPr>
          <p:spPr>
            <a:xfrm>
              <a:off x="3193333" y="1265814"/>
              <a:ext cx="6165747" cy="592299"/>
            </a:xfrm>
            <a:prstGeom prst="leftRightArrow">
              <a:avLst>
                <a:gd name="adj1" fmla="val 79822"/>
                <a:gd name="adj2" fmla="val 147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r>
                <a:rPr lang="en-US" sz="1100" dirty="0">
                  <a:solidFill>
                    <a:prstClr val="white"/>
                  </a:solidFill>
                  <a:latin typeface="Calibri" panose="020F0502020204030204"/>
                </a:rPr>
                <a:t>Direct-to-Cloud (D2C) ACOM/FHIR upload</a:t>
              </a:r>
            </a:p>
          </p:txBody>
        </p:sp>
        <p:sp>
          <p:nvSpPr>
            <p:cNvPr id="30" name="Left-Right Arrow 8">
              <a:extLst>
                <a:ext uri="{FF2B5EF4-FFF2-40B4-BE49-F238E27FC236}">
                  <a16:creationId xmlns:a16="http://schemas.microsoft.com/office/drawing/2014/main" id="{912C6415-5CEF-3527-1CCB-4BC0319FBC78}"/>
                </a:ext>
              </a:extLst>
            </p:cNvPr>
            <p:cNvSpPr/>
            <p:nvPr/>
          </p:nvSpPr>
          <p:spPr>
            <a:xfrm>
              <a:off x="7447701" y="2254294"/>
              <a:ext cx="1907141" cy="1594036"/>
            </a:xfrm>
            <a:prstGeom prst="leftRightArrow">
              <a:avLst>
                <a:gd name="adj1" fmla="val 79822"/>
                <a:gd name="adj2" fmla="val 147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r>
                <a:rPr lang="en-US" sz="1100" dirty="0">
                  <a:solidFill>
                    <a:prstClr val="white"/>
                  </a:solidFill>
                  <a:latin typeface="Calibri" panose="020F0502020204030204"/>
                </a:rPr>
                <a:t>IHE FHIR Observation upload and retrieval</a:t>
              </a:r>
            </a:p>
          </p:txBody>
        </p:sp>
        <p:pic>
          <p:nvPicPr>
            <p:cNvPr id="33" name="Picture 4" descr="Set-top box Images, Stock Photos &amp; Vectors | Shutterstock">
              <a:extLst>
                <a:ext uri="{FF2B5EF4-FFF2-40B4-BE49-F238E27FC236}">
                  <a16:creationId xmlns:a16="http://schemas.microsoft.com/office/drawing/2014/main" id="{99B84517-7309-4A82-2FF3-7E85246056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10" t="21216" r="9943" b="28926"/>
            <a:stretch/>
          </p:blipFill>
          <p:spPr bwMode="auto">
            <a:xfrm>
              <a:off x="5293281" y="3925549"/>
              <a:ext cx="1431963" cy="613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E4C5C99A-F5C2-2C2D-60D1-08586DC3E3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7688" y="3552637"/>
              <a:ext cx="597061" cy="619292"/>
            </a:xfrm>
            <a:prstGeom prst="rect">
              <a:avLst/>
            </a:prstGeom>
          </p:spPr>
        </p:pic>
      </p:grpSp>
      <p:pic>
        <p:nvPicPr>
          <p:cNvPr id="3" name="Picture 2" descr="FHIR and the Real Challenge of Health Data ...">
            <a:extLst>
              <a:ext uri="{FF2B5EF4-FFF2-40B4-BE49-F238E27FC236}">
                <a16:creationId xmlns:a16="http://schemas.microsoft.com/office/drawing/2014/main" id="{7CA9D435-D2A6-9269-BE1A-0B10A3F77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314" y="3362797"/>
            <a:ext cx="1266928" cy="59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FHIR and the Real Challenge of Health Data ...">
            <a:extLst>
              <a:ext uri="{FF2B5EF4-FFF2-40B4-BE49-F238E27FC236}">
                <a16:creationId xmlns:a16="http://schemas.microsoft.com/office/drawing/2014/main" id="{D0E9F09B-005E-6FD7-FBF8-65860DA10B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493" y="4527116"/>
            <a:ext cx="1025111" cy="480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4D26101-B828-EB60-FF63-F20E80E795D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145" y="4743594"/>
            <a:ext cx="979330" cy="391732"/>
          </a:xfrm>
          <a:prstGeom prst="rect">
            <a:avLst/>
          </a:prstGeom>
        </p:spPr>
      </p:pic>
      <p:pic>
        <p:nvPicPr>
          <p:cNvPr id="8" name="Picture 7" descr="HealthShare and HL7, FHIR, X12, DICOM, ASTM, NCPDP, IHE ...">
            <a:extLst>
              <a:ext uri="{FF2B5EF4-FFF2-40B4-BE49-F238E27FC236}">
                <a16:creationId xmlns:a16="http://schemas.microsoft.com/office/drawing/2014/main" id="{A99BF2AC-05B9-06B8-8FF3-8CD3141EC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3472081"/>
            <a:ext cx="1191491" cy="324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urved Left Arrow 10">
            <a:extLst>
              <a:ext uri="{FF2B5EF4-FFF2-40B4-BE49-F238E27FC236}">
                <a16:creationId xmlns:a16="http://schemas.microsoft.com/office/drawing/2014/main" id="{4D906F27-8F16-55E5-3603-A1AA7DC537BF}"/>
              </a:ext>
            </a:extLst>
          </p:cNvPr>
          <p:cNvSpPr/>
          <p:nvPr/>
        </p:nvSpPr>
        <p:spPr>
          <a:xfrm>
            <a:off x="8329695" y="3753005"/>
            <a:ext cx="539552" cy="718582"/>
          </a:xfrm>
          <a:prstGeom prst="curvedLeftArrow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8282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C1788-A716-48ED-A091-0DAD66638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EEE 11073-10206 - ACOM bas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9A46CA-84E5-41F4-BE5E-9A27D913B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COM defines a simple information model for PHDs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E271695-0468-40E5-8073-A3FE408DF1FA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1763688" y="1656001"/>
            <a:ext cx="5861050" cy="304006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FA2AF34-7D96-4913-975D-6A0991F8532B}"/>
              </a:ext>
            </a:extLst>
          </p:cNvPr>
          <p:cNvSpPr txBox="1">
            <a:spLocks/>
          </p:cNvSpPr>
          <p:nvPr/>
        </p:nvSpPr>
        <p:spPr>
          <a:xfrm>
            <a:off x="615696" y="102946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08610" indent="-30861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8655" indent="-257175" algn="l" defTabSz="41148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41148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41148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25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3A3C2-5A39-4784-9846-89BBE703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/>
              <a:t>ACOM Observ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27D49C-5794-4A83-86BF-15A8516F7C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4165" y="1211263"/>
            <a:ext cx="2413620" cy="3484800"/>
          </a:xfrm>
        </p:spPr>
        <p:txBody>
          <a:bodyPr vert="horz" lIns="68580" tIns="34290" rIns="68580" bIns="34290" spcCol="324000" rtlCol="0" anchor="t">
            <a:normAutofit/>
          </a:bodyPr>
          <a:lstStyle/>
          <a:p>
            <a:r>
              <a:rPr lang="en-US" sz="1650" dirty="0">
                <a:solidFill>
                  <a:schemeClr val="tx1"/>
                </a:solidFill>
              </a:rPr>
              <a:t>ACOM supports the common classes of observations from PHDs</a:t>
            </a:r>
          </a:p>
          <a:p>
            <a:r>
              <a:rPr lang="en-US" sz="1650" dirty="0"/>
              <a:t>ACOM is a t</a:t>
            </a:r>
            <a:r>
              <a:rPr lang="en-US" sz="1650" dirty="0">
                <a:solidFill>
                  <a:schemeClr val="tx1"/>
                </a:solidFill>
              </a:rPr>
              <a:t>oolbox to define observation profiles that your device type supports</a:t>
            </a:r>
          </a:p>
          <a:p>
            <a:endParaRPr lang="en-US" sz="165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7401C5-B9A6-3B11-077F-3CC02F2A99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7552" y="1063253"/>
            <a:ext cx="5792397" cy="371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42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>
            <a:normAutofit fontScale="70000" lnSpcReduction="20000"/>
          </a:bodyPr>
          <a:lstStyle/>
          <a:p>
            <a:pPr algn="r">
              <a:spcAft>
                <a:spcPts val="450"/>
              </a:spcAft>
            </a:pPr>
            <a:fld id="{793332C0-45F3-49F7-8962-3AD7701CBA4A}" type="slidenum">
              <a:rPr lang="en-US">
                <a:solidFill>
                  <a:schemeClr val="tx1">
                    <a:tint val="75000"/>
                  </a:schemeClr>
                </a:solidFill>
              </a:rPr>
              <a:pPr algn="r">
                <a:spcAft>
                  <a:spcPts val="450"/>
                </a:spcAft>
              </a:pPr>
              <a:t>7</a:t>
            </a:fld>
            <a:endParaRPr lang="en-US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A83E3E-3A88-43E2-9586-B115BBDDB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OM Observation mapped to FHIR Observation resour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908EFC-8032-549D-17F8-BF193C6251A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2410992" cy="3484800"/>
          </a:xfrm>
        </p:spPr>
        <p:txBody>
          <a:bodyPr/>
          <a:lstStyle/>
          <a:p>
            <a:r>
              <a:rPr lang="en-US" dirty="0"/>
              <a:t>Example ACOM &amp; FHIR SpO2 Observation</a:t>
            </a:r>
          </a:p>
          <a:p>
            <a:r>
              <a:rPr lang="en-US" dirty="0"/>
              <a:t>Mapping is following the </a:t>
            </a:r>
            <a:br>
              <a:rPr lang="en-US" dirty="0"/>
            </a:br>
            <a:r>
              <a:rPr lang="en-US" dirty="0">
                <a:hlinkClick r:id="rId2"/>
              </a:rPr>
              <a:t>HL7 FHIR PHD Implementation Guid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and the</a:t>
            </a:r>
            <a:r>
              <a:rPr lang="en-US" dirty="0">
                <a:hlinkClick r:id="rId3"/>
              </a:rPr>
              <a:t> </a:t>
            </a:r>
            <a:br>
              <a:rPr lang="en-US" dirty="0">
                <a:hlinkClick r:id="rId3"/>
              </a:rPr>
            </a:br>
            <a:r>
              <a:rPr lang="en-US" dirty="0">
                <a:hlinkClick r:id="rId3"/>
              </a:rPr>
              <a:t>IHE PHD Observation Upload (POU) profile</a:t>
            </a:r>
            <a:endParaRPr lang="en-US" dirty="0"/>
          </a:p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562924"/>
              </p:ext>
            </p:extLst>
          </p:nvPr>
        </p:nvGraphicFramePr>
        <p:xfrm>
          <a:off x="3059832" y="899103"/>
          <a:ext cx="5902048" cy="4115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60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96304">
                  <a:extLst>
                    <a:ext uri="{9D8B030D-6E8A-4147-A177-3AD203B41FA5}">
                      <a16:colId xmlns:a16="http://schemas.microsoft.com/office/drawing/2014/main" val="4235085973"/>
                    </a:ext>
                  </a:extLst>
                </a:gridCol>
              </a:tblGrid>
              <a:tr h="474912">
                <a:tc>
                  <a:txBody>
                    <a:bodyPr/>
                    <a:lstStyle/>
                    <a:p>
                      <a:r>
                        <a:rPr lang="en-US" sz="1200" dirty="0"/>
                        <a:t>ACOM Observation</a:t>
                      </a:r>
                    </a:p>
                    <a:p>
                      <a:r>
                        <a:rPr lang="en-US" sz="1200" dirty="0"/>
                        <a:t>attribute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Value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FHIR Observation attribute &amp; value</a:t>
                      </a:r>
                    </a:p>
                  </a:txBody>
                  <a:tcPr marL="55443" marR="55443" marT="27722" marB="27722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4912">
                <a:tc>
                  <a:txBody>
                    <a:bodyPr/>
                    <a:lstStyle/>
                    <a:p>
                      <a:r>
                        <a:rPr lang="en-US" sz="1200"/>
                        <a:t>Object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umeric Observation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{</a:t>
                      </a:r>
                    </a:p>
                    <a:p>
                      <a:r>
                        <a:rPr lang="en-US" sz="1200"/>
                        <a:t>“resourceType”: “Observation”,</a:t>
                      </a:r>
                    </a:p>
                  </a:txBody>
                  <a:tcPr marL="55443" marR="55443" marT="27722" marB="27722" anchor="ctr"/>
                </a:tc>
                <a:extLst>
                  <a:ext uri="{0D108BD9-81ED-4DB2-BD59-A6C34878D82A}">
                    <a16:rowId xmlns:a16="http://schemas.microsoft.com/office/drawing/2014/main" val="3422855056"/>
                  </a:ext>
                </a:extLst>
              </a:tr>
              <a:tr h="1152723">
                <a:tc>
                  <a:txBody>
                    <a:bodyPr/>
                    <a:lstStyle/>
                    <a:p>
                      <a:r>
                        <a:rPr lang="en-US" sz="1200"/>
                        <a:t>Type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MDC_PULS_OXIM_SAT_O2 (2::19384)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“code”: {“coding”: [{</a:t>
                      </a:r>
                    </a:p>
                    <a:p>
                      <a:pPr lvl="0"/>
                      <a:r>
                        <a:rPr lang="en-US" sz="1200" dirty="0"/>
                        <a:t>  “system”:         </a:t>
                      </a:r>
                      <a:br>
                        <a:rPr lang="en-US" sz="1200" dirty="0"/>
                      </a:br>
                      <a:r>
                        <a:rPr lang="en-US" sz="1200" baseline="0" dirty="0"/>
                        <a:t>    </a:t>
                      </a:r>
                      <a:r>
                        <a:rPr lang="en-US" sz="1200" dirty="0"/>
                        <a:t>“urn:iso:std:iso:11073:10101”,</a:t>
                      </a:r>
                      <a:br>
                        <a:rPr lang="en-US" sz="1200" dirty="0"/>
                      </a:br>
                      <a:r>
                        <a:rPr lang="en-US" sz="1200" baseline="0" dirty="0"/>
                        <a:t>  </a:t>
                      </a:r>
                      <a:r>
                        <a:rPr lang="en-US" sz="1200" dirty="0"/>
                        <a:t>“code”: “150456”</a:t>
                      </a:r>
                    </a:p>
                    <a:p>
                      <a:r>
                        <a:rPr lang="en-US" sz="1200" dirty="0"/>
                        <a:t>}]},</a:t>
                      </a:r>
                    </a:p>
                  </a:txBody>
                  <a:tcPr marL="55443" marR="55443" marT="27722" marB="27722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00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/>
                        <a:t>Unit Code </a:t>
                      </a:r>
                      <a:endParaRPr lang="en-US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200" kern="1200"/>
                        <a:t>MDC_DIM_PERCENT (4::544)</a:t>
                      </a:r>
                      <a:endParaRPr lang="en-US" altLang="zh-CN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43" marR="55443" marT="27722" marB="27722" anchor="ctr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/>
                        <a:t>“</a:t>
                      </a:r>
                      <a:r>
                        <a:rPr lang="en-US" altLang="zh-CN" sz="1200" kern="1200" dirty="0" err="1"/>
                        <a:t>valueQuantity</a:t>
                      </a:r>
                      <a:r>
                        <a:rPr lang="en-US" altLang="zh-CN" sz="1200" kern="1200" dirty="0"/>
                        <a:t>”:{</a:t>
                      </a:r>
                      <a:br>
                        <a:rPr lang="en-US" altLang="zh-CN" sz="1200" kern="1200" dirty="0"/>
                      </a:br>
                      <a:r>
                        <a:rPr lang="en-US" altLang="zh-CN" sz="1200" kern="1200" dirty="0"/>
                        <a:t>  </a:t>
                      </a:r>
                      <a:r>
                        <a:rPr lang="en-US" sz="1200" dirty="0"/>
                        <a:t>“system”: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    “urn:iso:std:iso:11073:10101”,  </a:t>
                      </a:r>
                      <a:br>
                        <a:rPr lang="en-US" sz="1200" dirty="0"/>
                      </a:br>
                      <a:r>
                        <a:rPr lang="en-US" sz="1200" baseline="0" dirty="0"/>
                        <a:t>  </a:t>
                      </a:r>
                      <a:r>
                        <a:rPr lang="en-US" sz="1200" dirty="0"/>
                        <a:t>“code”: “262688”,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  “value”: 89.0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},</a:t>
                      </a:r>
                    </a:p>
                  </a:txBody>
                  <a:tcPr marL="55443" marR="55443" marT="27722" marB="2772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55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/>
                        <a:t>Observed Value </a:t>
                      </a:r>
                      <a:endParaRPr lang="en-US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89.0</a:t>
                      </a:r>
                    </a:p>
                  </a:txBody>
                  <a:tcPr marL="55443" marR="55443" marT="27722" marB="27722" anchor="ctr"/>
                </a:tc>
                <a:tc v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7305">
                <a:tc>
                  <a:txBody>
                    <a:bodyPr/>
                    <a:lstStyle/>
                    <a:p>
                      <a:r>
                        <a:rPr lang="en-US" sz="1200" dirty="0"/>
                        <a:t>Time stamp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2017-09-04 16:30:00 +1:00</a:t>
                      </a:r>
                    </a:p>
                    <a:p>
                      <a:r>
                        <a:rPr lang="en-US" sz="1200"/>
                        <a:t>(1504542600)</a:t>
                      </a:r>
                    </a:p>
                  </a:txBody>
                  <a:tcPr marL="55443" marR="55443" marT="27722" marB="27722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“</a:t>
                      </a:r>
                      <a:r>
                        <a:rPr lang="en-US" sz="1200" dirty="0" err="1"/>
                        <a:t>effectiveDateTime</a:t>
                      </a:r>
                      <a:r>
                        <a:rPr lang="en-US" sz="1200" dirty="0"/>
                        <a:t>”: “2017-09-04T16:30:00+01:00”</a:t>
                      </a:r>
                    </a:p>
                    <a:p>
                      <a:r>
                        <a:rPr lang="en-US" sz="1200" dirty="0"/>
                        <a:t>}</a:t>
                      </a:r>
                    </a:p>
                  </a:txBody>
                  <a:tcPr marL="55443" marR="55443" marT="27722" marB="2772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48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0AFC302-34F8-4CAE-8793-CD6E5C468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148235"/>
            <a:ext cx="7523937" cy="719137"/>
          </a:xfrm>
        </p:spPr>
        <p:txBody>
          <a:bodyPr/>
          <a:lstStyle/>
          <a:p>
            <a:r>
              <a:rPr lang="en-US" dirty="0"/>
              <a:t>Bluetooth GHS GATT profile and service specifica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4F9144-6008-4273-BAA4-3042E1F8C222}"/>
              </a:ext>
            </a:extLst>
          </p:cNvPr>
          <p:cNvSpPr/>
          <p:nvPr/>
        </p:nvSpPr>
        <p:spPr>
          <a:xfrm>
            <a:off x="1482506" y="854471"/>
            <a:ext cx="2116167" cy="2721743"/>
          </a:xfrm>
          <a:prstGeom prst="rect">
            <a:avLst/>
          </a:prstGeom>
          <a:solidFill>
            <a:srgbClr val="FFFF66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Generic Health Sensor </a:t>
            </a:r>
            <a:br>
              <a:rPr lang="en-US" sz="1350" dirty="0">
                <a:solidFill>
                  <a:schemeClr val="tx1"/>
                </a:solidFill>
              </a:rPr>
            </a:br>
            <a:r>
              <a:rPr lang="en-US" sz="1350" dirty="0">
                <a:solidFill>
                  <a:schemeClr val="tx1"/>
                </a:solidFill>
              </a:rPr>
              <a:t>Client / Collecto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5EDC51-5ED6-4144-A792-FEBBFC09B013}"/>
              </a:ext>
            </a:extLst>
          </p:cNvPr>
          <p:cNvSpPr/>
          <p:nvPr/>
        </p:nvSpPr>
        <p:spPr>
          <a:xfrm>
            <a:off x="5001474" y="854470"/>
            <a:ext cx="2199992" cy="2721744"/>
          </a:xfrm>
          <a:prstGeom prst="rect">
            <a:avLst/>
          </a:prstGeom>
          <a:solidFill>
            <a:srgbClr val="FFFF66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>
                <a:solidFill>
                  <a:schemeClr val="tx1"/>
                </a:solidFill>
              </a:rPr>
              <a:t>Generic Health Sensor </a:t>
            </a:r>
            <a:br>
              <a:rPr lang="en-US" sz="1350">
                <a:solidFill>
                  <a:schemeClr val="tx1"/>
                </a:solidFill>
              </a:rPr>
            </a:br>
            <a:r>
              <a:rPr lang="en-US" sz="1350">
                <a:solidFill>
                  <a:schemeClr val="tx1"/>
                </a:solidFill>
              </a:rPr>
              <a:t>Server / Sensor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C61CA00-ED17-4BC6-8130-419DC3B188BA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3598673" y="2215342"/>
            <a:ext cx="1402801" cy="1"/>
          </a:xfrm>
          <a:prstGeom prst="straightConnector1">
            <a:avLst/>
          </a:prstGeom>
          <a:ln w="38100">
            <a:headEnd type="arrow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7E3E396-F7B7-4611-9229-31CE6CEF24C7}"/>
              </a:ext>
            </a:extLst>
          </p:cNvPr>
          <p:cNvSpPr txBox="1"/>
          <p:nvPr/>
        </p:nvSpPr>
        <p:spPr>
          <a:xfrm>
            <a:off x="3880146" y="1835637"/>
            <a:ext cx="986657" cy="89853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sz="1350" dirty="0">
                <a:solidFill>
                  <a:schemeClr val="tx1"/>
                </a:solidFill>
              </a:rPr>
              <a:t>GAT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96E200-B31B-44FC-8007-4ED700E84913}"/>
              </a:ext>
            </a:extLst>
          </p:cNvPr>
          <p:cNvSpPr/>
          <p:nvPr/>
        </p:nvSpPr>
        <p:spPr>
          <a:xfrm>
            <a:off x="5113926" y="1360897"/>
            <a:ext cx="1988934" cy="474742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Generic Health Sensor </a:t>
            </a:r>
            <a:br>
              <a:rPr lang="en-US" sz="1350" dirty="0">
                <a:solidFill>
                  <a:schemeClr val="tx1"/>
                </a:solidFill>
              </a:rPr>
            </a:br>
            <a:r>
              <a:rPr lang="en-US" sz="1350" dirty="0">
                <a:solidFill>
                  <a:schemeClr val="tx1"/>
                </a:solidFill>
              </a:rPr>
              <a:t>Servi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2DEAF3-EC6E-40AA-9311-917A7916F58C}"/>
              </a:ext>
            </a:extLst>
          </p:cNvPr>
          <p:cNvSpPr/>
          <p:nvPr/>
        </p:nvSpPr>
        <p:spPr>
          <a:xfrm>
            <a:off x="5113926" y="2214121"/>
            <a:ext cx="1988934" cy="29841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Elapsed Time Servi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0E04B5-4757-4E20-90AD-53C503434AF2}"/>
              </a:ext>
            </a:extLst>
          </p:cNvPr>
          <p:cNvSpPr txBox="1"/>
          <p:nvPr/>
        </p:nvSpPr>
        <p:spPr>
          <a:xfrm>
            <a:off x="3744406" y="809088"/>
            <a:ext cx="1173791" cy="10128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200" dirty="0"/>
              <a:t>Observations</a:t>
            </a:r>
          </a:p>
          <a:p>
            <a:pPr algn="ctr"/>
            <a:r>
              <a:rPr lang="en-US" sz="1200" dirty="0"/>
              <a:t>Device Information</a:t>
            </a:r>
          </a:p>
          <a:p>
            <a:pPr algn="ctr"/>
            <a:r>
              <a:rPr lang="en-US" sz="1200" dirty="0"/>
              <a:t>Time</a:t>
            </a:r>
          </a:p>
          <a:p>
            <a:pPr algn="ctr"/>
            <a:r>
              <a:rPr lang="en-US" sz="1200" dirty="0"/>
              <a:t>Power status</a:t>
            </a:r>
          </a:p>
          <a:p>
            <a:pPr algn="ctr"/>
            <a:r>
              <a:rPr lang="en-US" sz="1200" dirty="0"/>
              <a:t>User Inform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1BD88CF-8F1A-4A71-A5C4-D4A80618FDB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C"/>
              </a:clrFrom>
              <a:clrTo>
                <a:srgbClr val="FFFFFC">
                  <a:alpha val="0"/>
                </a:srgbClr>
              </a:clrTo>
            </a:clrChange>
          </a:blip>
          <a:srcRect t="6671" r="10925" b="23243"/>
          <a:stretch/>
        </p:blipFill>
        <p:spPr>
          <a:xfrm>
            <a:off x="5191580" y="4148151"/>
            <a:ext cx="685849" cy="792462"/>
          </a:xfrm>
          <a:prstGeom prst="rect">
            <a:avLst/>
          </a:prstGeom>
        </p:spPr>
      </p:pic>
      <p:pic>
        <p:nvPicPr>
          <p:cNvPr id="16" name="Picture 15" descr="Afbeeldingsresultaat voor a&amp;d medical blood pressure monitor">
            <a:extLst>
              <a:ext uri="{FF2B5EF4-FFF2-40B4-BE49-F238E27FC236}">
                <a16:creationId xmlns:a16="http://schemas.microsoft.com/office/drawing/2014/main" id="{EA5A2D49-CDB3-42CF-8ED4-3EE42FB1F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6811" y="3461438"/>
            <a:ext cx="1103368" cy="856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Afbeeldingsresultaat voor polar bluetooth weight scale">
            <a:extLst>
              <a:ext uri="{FF2B5EF4-FFF2-40B4-BE49-F238E27FC236}">
                <a16:creationId xmlns:a16="http://schemas.microsoft.com/office/drawing/2014/main" id="{52DE4DF1-AF13-474A-B2DF-D5685D642F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807" y="4031477"/>
            <a:ext cx="937271" cy="102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5379A43-F62C-4240-A4BB-E038EA29AA9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978" y="3643963"/>
            <a:ext cx="1073972" cy="90230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D23872-D763-4292-8788-F996741CC14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394" y="3926652"/>
            <a:ext cx="738362" cy="76585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9FFD95F-3435-4C5E-8ADD-DEE1183E0C8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8551" y="4402577"/>
            <a:ext cx="447796" cy="46446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918672A-D684-4A42-BE69-5F63B99FD6FE}"/>
              </a:ext>
            </a:extLst>
          </p:cNvPr>
          <p:cNvSpPr txBox="1"/>
          <p:nvPr/>
        </p:nvSpPr>
        <p:spPr>
          <a:xfrm>
            <a:off x="3712504" y="4036805"/>
            <a:ext cx="1654307" cy="429231"/>
          </a:xfrm>
          <a:prstGeom prst="rect">
            <a:avLst/>
          </a:prstGeom>
          <a:noFill/>
          <a:ln>
            <a:solidFill>
              <a:srgbClr val="A6C628"/>
            </a:solidFill>
          </a:ln>
        </p:spPr>
        <p:txBody>
          <a:bodyPr wrap="square" rtlCol="0">
            <a:noAutofit/>
          </a:bodyPr>
          <a:lstStyle/>
          <a:p>
            <a:r>
              <a:rPr lang="en-US" sz="1050" i="1" dirty="0">
                <a:latin typeface="Lucida Sans" panose="020B0602030504020204" pitchFamily="34" charset="0"/>
              </a:rPr>
              <a:t>Simple to implement on constrained device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98EA918-9B6E-4446-B58C-AF80BE340575}"/>
              </a:ext>
            </a:extLst>
          </p:cNvPr>
          <p:cNvCxnSpPr>
            <a:cxnSpLocks/>
            <a:stCxn id="27" idx="2"/>
            <a:endCxn id="15" idx="1"/>
          </p:cNvCxnSpPr>
          <p:nvPr/>
        </p:nvCxnSpPr>
        <p:spPr>
          <a:xfrm>
            <a:off x="4539657" y="4466035"/>
            <a:ext cx="651923" cy="78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69C2A39D-F7BA-4722-8DB8-1E3410EB8805}"/>
              </a:ext>
            </a:extLst>
          </p:cNvPr>
          <p:cNvSpPr/>
          <p:nvPr/>
        </p:nvSpPr>
        <p:spPr>
          <a:xfrm>
            <a:off x="5113926" y="1875673"/>
            <a:ext cx="1988934" cy="29841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Device Info Service 1.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126EE3-0969-400C-9CB3-D75C87B38203}"/>
              </a:ext>
            </a:extLst>
          </p:cNvPr>
          <p:cNvSpPr/>
          <p:nvPr/>
        </p:nvSpPr>
        <p:spPr>
          <a:xfrm>
            <a:off x="5113926" y="2552570"/>
            <a:ext cx="1988934" cy="29841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Battery Service 1.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B13D95D-7CCC-4900-88CB-19643C00A97B}"/>
              </a:ext>
            </a:extLst>
          </p:cNvPr>
          <p:cNvSpPr/>
          <p:nvPr/>
        </p:nvSpPr>
        <p:spPr>
          <a:xfrm>
            <a:off x="5113926" y="2891017"/>
            <a:ext cx="1988934" cy="29841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User Data Service 1.1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BD1244-2190-42C6-BFAA-068F563F532F}"/>
              </a:ext>
            </a:extLst>
          </p:cNvPr>
          <p:cNvSpPr/>
          <p:nvPr/>
        </p:nvSpPr>
        <p:spPr>
          <a:xfrm>
            <a:off x="5113059" y="3220881"/>
            <a:ext cx="1988934" cy="29841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econnection config 1.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C05F0DD-C225-4C93-8B8C-403786D44FB7}"/>
              </a:ext>
            </a:extLst>
          </p:cNvPr>
          <p:cNvSpPr txBox="1"/>
          <p:nvPr/>
        </p:nvSpPr>
        <p:spPr>
          <a:xfrm>
            <a:off x="3756599" y="3113343"/>
            <a:ext cx="1173791" cy="45803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200" dirty="0"/>
              <a:t>Connection</a:t>
            </a:r>
            <a:br>
              <a:rPr lang="en-US" sz="1200" dirty="0"/>
            </a:br>
            <a:r>
              <a:rPr lang="en-US" sz="1200" dirty="0"/>
              <a:t>parameter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25364D-72A9-C56C-BA58-81E65D0BE41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03" y="2294826"/>
            <a:ext cx="1470553" cy="58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92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B847BFE-408B-432B-A731-475CF58BD5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826" y="126759"/>
            <a:ext cx="8135939" cy="518431"/>
          </a:xfrm>
        </p:spPr>
        <p:txBody>
          <a:bodyPr/>
          <a:lstStyle/>
          <a:p>
            <a:r>
              <a:rPr lang="en-US" dirty="0"/>
              <a:t>Philips ACOM/GHS prototypes – used for interop testing</a:t>
            </a:r>
            <a:endParaRPr lang="nl-NL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C96FE22-64DF-4D49-8C0B-4656D70E090D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3"/>
          <a:srcRect l="2103" r="50717" b="2797"/>
          <a:stretch/>
        </p:blipFill>
        <p:spPr>
          <a:xfrm>
            <a:off x="1443472" y="834208"/>
            <a:ext cx="1941131" cy="3817488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</p:pic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63B94485-AB5B-4151-8E61-2E74AC4D4F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945" t="4421" r="2841" b="12967"/>
          <a:stretch/>
        </p:blipFill>
        <p:spPr>
          <a:xfrm>
            <a:off x="5438190" y="962706"/>
            <a:ext cx="2058716" cy="367144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52D34A82-2E65-466A-9DBF-458A44DC1473}"/>
              </a:ext>
            </a:extLst>
          </p:cNvPr>
          <p:cNvCxnSpPr>
            <a:cxnSpLocks/>
          </p:cNvCxnSpPr>
          <p:nvPr/>
        </p:nvCxnSpPr>
        <p:spPr>
          <a:xfrm>
            <a:off x="3412489" y="2256190"/>
            <a:ext cx="1995184" cy="0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C71ECB7-EA0B-4B72-9044-DBFDA7B7482E}"/>
              </a:ext>
            </a:extLst>
          </p:cNvPr>
          <p:cNvSpPr/>
          <p:nvPr/>
        </p:nvSpPr>
        <p:spPr>
          <a:xfrm>
            <a:off x="3753457" y="2979588"/>
            <a:ext cx="1335185" cy="51384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Health Observatio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ABB723D-972C-4D4C-BCDD-9D0324CB8DE6}"/>
              </a:ext>
            </a:extLst>
          </p:cNvPr>
          <p:cNvSpPr/>
          <p:nvPr/>
        </p:nvSpPr>
        <p:spPr>
          <a:xfrm>
            <a:off x="3753456" y="3555900"/>
            <a:ext cx="1335185" cy="51384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Device inform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A78AF6-FB33-415F-8443-CF7A81BEF729}"/>
              </a:ext>
            </a:extLst>
          </p:cNvPr>
          <p:cNvSpPr/>
          <p:nvPr/>
        </p:nvSpPr>
        <p:spPr>
          <a:xfrm>
            <a:off x="3615014" y="2436086"/>
            <a:ext cx="1654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LE / GATT / GH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FA1AC18-64F5-451B-B460-F7AD24D155D0}"/>
              </a:ext>
            </a:extLst>
          </p:cNvPr>
          <p:cNvSpPr/>
          <p:nvPr/>
        </p:nvSpPr>
        <p:spPr>
          <a:xfrm>
            <a:off x="3753456" y="4126171"/>
            <a:ext cx="1335185" cy="51384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Time and power inform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1C4D1DF-6E0A-41EB-9A7C-CEEEF3CD227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637" y="1710165"/>
            <a:ext cx="1208888" cy="4835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BC09479-B4AB-4EF1-8D84-5E92243D032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C"/>
              </a:clrFrom>
              <a:clrTo>
                <a:srgbClr val="FFFFFC">
                  <a:alpha val="0"/>
                </a:srgbClr>
              </a:clrTo>
            </a:clrChange>
          </a:blip>
          <a:srcRect t="6671" r="10925" b="23243"/>
          <a:stretch/>
        </p:blipFill>
        <p:spPr>
          <a:xfrm>
            <a:off x="614946" y="2617982"/>
            <a:ext cx="685849" cy="792462"/>
          </a:xfrm>
          <a:prstGeom prst="rect">
            <a:avLst/>
          </a:prstGeom>
        </p:spPr>
      </p:pic>
      <p:pic>
        <p:nvPicPr>
          <p:cNvPr id="13" name="Picture 12" descr="Afbeeldingsresultaat voor a&amp;d medical blood pressure monitor">
            <a:extLst>
              <a:ext uri="{FF2B5EF4-FFF2-40B4-BE49-F238E27FC236}">
                <a16:creationId xmlns:a16="http://schemas.microsoft.com/office/drawing/2014/main" id="{8DE3C0E1-108C-48C3-9D27-67D063EF5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27" y="1625367"/>
            <a:ext cx="1103368" cy="856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Afbeeldingsresultaat voor polar bluetooth weight scale">
            <a:extLst>
              <a:ext uri="{FF2B5EF4-FFF2-40B4-BE49-F238E27FC236}">
                <a16:creationId xmlns:a16="http://schemas.microsoft.com/office/drawing/2014/main" id="{043ED33B-CAEF-4C33-8697-46FBE6A63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3" y="3546384"/>
            <a:ext cx="937271" cy="102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hrthermometer mit App-Anbindung - DL8740 | Philips">
            <a:extLst>
              <a:ext uri="{FF2B5EF4-FFF2-40B4-BE49-F238E27FC236}">
                <a16:creationId xmlns:a16="http://schemas.microsoft.com/office/drawing/2014/main" id="{28961DD0-95BD-4E1A-A420-E14CEF8A7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003" y="561027"/>
            <a:ext cx="791733" cy="102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CA220A7-A76B-4237-95A3-A9E2158AC832}"/>
              </a:ext>
            </a:extLst>
          </p:cNvPr>
          <p:cNvSpPr txBox="1"/>
          <p:nvPr/>
        </p:nvSpPr>
        <p:spPr>
          <a:xfrm>
            <a:off x="1522118" y="4744657"/>
            <a:ext cx="2231701" cy="611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Open-sourced</a:t>
            </a:r>
          </a:p>
          <a:p>
            <a:r>
              <a:rPr lang="en-US" sz="675" dirty="0">
                <a:hlinkClick r:id="rId9" tooltip="https://github.com/philips-labs/ble-ghs-server-simulator"/>
              </a:rPr>
              <a:t>https://github.com/philips-labs/BLE-GHS-Server-Simulator</a:t>
            </a:r>
            <a:endParaRPr lang="en-US" sz="675" dirty="0"/>
          </a:p>
          <a:p>
            <a:endParaRPr lang="en-US" sz="135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436212-AB3A-4289-AA5A-547BECB239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7665865" y="2482041"/>
            <a:ext cx="1549889" cy="1246650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6ED5C75-CF81-4B6E-9C51-00FB685FFDB9}"/>
              </a:ext>
            </a:extLst>
          </p:cNvPr>
          <p:cNvCxnSpPr>
            <a:cxnSpLocks/>
          </p:cNvCxnSpPr>
          <p:nvPr/>
        </p:nvCxnSpPr>
        <p:spPr>
          <a:xfrm>
            <a:off x="7496906" y="2153934"/>
            <a:ext cx="995964" cy="417816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516E8D5-8D24-4003-A708-0E1DA772F509}"/>
              </a:ext>
            </a:extLst>
          </p:cNvPr>
          <p:cNvSpPr/>
          <p:nvPr/>
        </p:nvSpPr>
        <p:spPr>
          <a:xfrm>
            <a:off x="7893329" y="1904027"/>
            <a:ext cx="11990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/>
              <a:t>Post Observations</a:t>
            </a:r>
          </a:p>
        </p:txBody>
      </p:sp>
      <p:pic>
        <p:nvPicPr>
          <p:cNvPr id="4098" name="Picture 2" descr="HL7 FHIR">
            <a:extLst>
              <a:ext uri="{FF2B5EF4-FFF2-40B4-BE49-F238E27FC236}">
                <a16:creationId xmlns:a16="http://schemas.microsoft.com/office/drawing/2014/main" id="{AA726AF1-C6A1-458E-99C2-EBF9B98EA7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310" y="1396432"/>
            <a:ext cx="586997" cy="58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5359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],"slideId":"637698128343660957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],"slideId":"637698128343669111","enableDocumentContentUpdater":false,"version":"2.0"}]]></TemplafySlide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3CCF29AC71D4428C978BA42A6A441C" ma:contentTypeVersion="31" ma:contentTypeDescription="Create a new document." ma:contentTypeScope="" ma:versionID="038aba7bc5184902a26002c6ce26a8fd">
  <xsd:schema xmlns:xsd="http://www.w3.org/2001/XMLSchema" xmlns:xs="http://www.w3.org/2001/XMLSchema" xmlns:p="http://schemas.microsoft.com/office/2006/metadata/properties" xmlns:ns1="http://schemas.microsoft.com/sharepoint/v3" xmlns:ns2="aacb7df8-672f-46f2-977f-893ce5cef86b" xmlns:ns3="22a3f1e7-1ad8-4567-967d-700183da1d1b" targetNamespace="http://schemas.microsoft.com/office/2006/metadata/properties" ma:root="true" ma:fieldsID="9fbd0a90b29e90fda8c346cc45fa5a1b" ns1:_="" ns2:_="" ns3:_="">
    <xsd:import namespace="http://schemas.microsoft.com/sharepoint/v3"/>
    <xsd:import namespace="aacb7df8-672f-46f2-977f-893ce5cef86b"/>
    <xsd:import namespace="22a3f1e7-1ad8-4567-967d-700183da1d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Bedrijf" minOccurs="0"/>
                <xsd:element ref="ns2:Taal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cb7df8-672f-46f2-977f-893ce5cef8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Bedrijf" ma:index="20" nillable="true" ma:displayName="Bedrijf" ma:internalName="Bedrijf">
      <xsd:simpleType>
        <xsd:restriction base="dms:Text">
          <xsd:maxLength value="255"/>
        </xsd:restriction>
      </xsd:simpleType>
    </xsd:element>
    <xsd:element name="Taal" ma:index="21" nillable="true" ma:displayName="Taal" ma:format="Dropdown" ma:internalName="Taal">
      <xsd:simpleType>
        <xsd:restriction base="dms:Text">
          <xsd:maxLength value="255"/>
        </xsd:restriction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a3f1e7-1ad8-4567-967d-700183da1d1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al xmlns="aacb7df8-672f-46f2-977f-893ce5cef86b" xsi:nil="true"/>
    <_ip_UnifiedCompliancePolicyProperties xmlns="http://schemas.microsoft.com/sharepoint/v3" xsi:nil="true"/>
    <Bedrijf xmlns="aacb7df8-672f-46f2-977f-893ce5cef86b" xsi:nil="true"/>
  </documentManagement>
</p:properties>
</file>

<file path=customXml/item5.xml><?xml version="1.0" encoding="utf-8"?>
<TemplafyTemplateConfiguration><![CDATA[{"elementsMetadata":[],"transformationConfigurations":[],"templateName":"presentation_template_14_10_2021","templateDescription":"","enableDocumentContentUpdater":false,"version":"2.0"}]]></Templafy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7698128343633543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1,"isValidatorEnabled":false,"isLocked":false,"elementsMetadata":[],"slideId":"637698128343660957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0A784719-7AB9-904D-880C-CFCB0DA02955}">
  <ds:schemaRefs/>
</ds:datastoreItem>
</file>

<file path=customXml/itemProps11.xml><?xml version="1.0" encoding="utf-8"?>
<ds:datastoreItem xmlns:ds="http://schemas.openxmlformats.org/officeDocument/2006/customXml" ds:itemID="{428E12AD-FDDC-1A4F-8454-CA74DEA79564}">
  <ds:schemaRefs/>
</ds:datastoreItem>
</file>

<file path=customXml/itemProps12.xml><?xml version="1.0" encoding="utf-8"?>
<ds:datastoreItem xmlns:ds="http://schemas.openxmlformats.org/officeDocument/2006/customXml" ds:itemID="{7FC0CA0B-49EE-4DEB-A609-ECD7802D7882}">
  <ds:schemaRefs/>
</ds:datastoreItem>
</file>

<file path=customXml/itemProps13.xml><?xml version="1.0" encoding="utf-8"?>
<ds:datastoreItem xmlns:ds="http://schemas.openxmlformats.org/officeDocument/2006/customXml" ds:itemID="{55B74F0A-C5D3-4E4A-AB30-ED9680CE8A6E}">
  <ds:schemaRefs/>
</ds:datastoreItem>
</file>

<file path=customXml/itemProps2.xml><?xml version="1.0" encoding="utf-8"?>
<ds:datastoreItem xmlns:ds="http://schemas.openxmlformats.org/officeDocument/2006/customXml" ds:itemID="{961BB479-C8AA-43D6-A6CB-1C385FA0DCA1}">
  <ds:schemaRefs/>
</ds:datastoreItem>
</file>

<file path=customXml/itemProps3.xml><?xml version="1.0" encoding="utf-8"?>
<ds:datastoreItem xmlns:ds="http://schemas.openxmlformats.org/officeDocument/2006/customXml" ds:itemID="{013B81A7-42C7-4EB1-A3BE-95DA49CBD3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acb7df8-672f-46f2-977f-893ce5cef86b"/>
    <ds:schemaRef ds:uri="22a3f1e7-1ad8-4567-967d-700183da1d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4C6DCBC-A10C-4473-AF48-2D79BA76D9DB}">
  <ds:schemaRefs>
    <ds:schemaRef ds:uri="http://schemas.microsoft.com/office/infopath/2007/PartnerControls"/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22a3f1e7-1ad8-4567-967d-700183da1d1b"/>
    <ds:schemaRef ds:uri="aacb7df8-672f-46f2-977f-893ce5cef86b"/>
    <ds:schemaRef ds:uri="http://schemas.microsoft.com/sharepoint/v3"/>
  </ds:schemaRefs>
</ds:datastoreItem>
</file>

<file path=customXml/itemProps5.xml><?xml version="1.0" encoding="utf-8"?>
<ds:datastoreItem xmlns:ds="http://schemas.openxmlformats.org/officeDocument/2006/customXml" ds:itemID="{F537D632-4F2A-497D-93F3-CB16D6200A3E}">
  <ds:schemaRefs/>
</ds:datastoreItem>
</file>

<file path=customXml/itemProps6.xml><?xml version="1.0" encoding="utf-8"?>
<ds:datastoreItem xmlns:ds="http://schemas.openxmlformats.org/officeDocument/2006/customXml" ds:itemID="{5DBD0B41-17B3-4548-965B-078F47F73BF8}">
  <ds:schemaRefs/>
</ds:datastoreItem>
</file>

<file path=customXml/itemProps7.xml><?xml version="1.0" encoding="utf-8"?>
<ds:datastoreItem xmlns:ds="http://schemas.openxmlformats.org/officeDocument/2006/customXml" ds:itemID="{A6DE6974-73AB-4FBD-8F6A-BC3C8AD38132}">
  <ds:schemaRefs/>
</ds:datastoreItem>
</file>

<file path=customXml/itemProps8.xml><?xml version="1.0" encoding="utf-8"?>
<ds:datastoreItem xmlns:ds="http://schemas.openxmlformats.org/officeDocument/2006/customXml" ds:itemID="{FE7E9661-2CD7-495F-BC0F-FD4CC34A98B3}">
  <ds:schemaRefs/>
</ds:datastoreItem>
</file>

<file path=customXml/itemProps9.xml><?xml version="1.0" encoding="utf-8"?>
<ds:datastoreItem xmlns:ds="http://schemas.openxmlformats.org/officeDocument/2006/customXml" ds:itemID="{30C07C80-206C-4B4B-A5DE-54917C526E4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1</TotalTime>
  <Words>983</Words>
  <Application>Microsoft Macintosh PowerPoint</Application>
  <PresentationFormat>On-screen Show (16:9)</PresentationFormat>
  <Paragraphs>130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Lucida Sans</vt:lpstr>
      <vt:lpstr>Presentation template Jan21</vt:lpstr>
      <vt:lpstr>think-cell Slide</vt:lpstr>
      <vt:lpstr>PowerPoint Presentation</vt:lpstr>
      <vt:lpstr>The problem</vt:lpstr>
      <vt:lpstr>The solution </vt:lpstr>
      <vt:lpstr>The solution: ACOM + FHIR</vt:lpstr>
      <vt:lpstr>IEEE 11073-10206 - ACOM basics</vt:lpstr>
      <vt:lpstr>ACOM Observations</vt:lpstr>
      <vt:lpstr>ACOM Observation mapped to FHIR Observation resource</vt:lpstr>
      <vt:lpstr>Bluetooth GHS GATT profile and service specifications</vt:lpstr>
      <vt:lpstr>PowerPoint Presentation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say meulemans</dc:creator>
  <cp:lastModifiedBy>Moll, Erik</cp:lastModifiedBy>
  <cp:revision>1113</cp:revision>
  <dcterms:created xsi:type="dcterms:W3CDTF">2022-08-25T07:48:19Z</dcterms:created>
  <dcterms:modified xsi:type="dcterms:W3CDTF">2022-09-21T12:3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3CCF29AC71D4428C978BA42A6A441C</vt:lpwstr>
  </property>
  <property fmtid="{D5CDD505-2E9C-101B-9397-08002B2CF9AE}" pid="3" name="TemplafyTimeStamp">
    <vt:lpwstr>2021-10-14T12:53:54</vt:lpwstr>
  </property>
  <property fmtid="{D5CDD505-2E9C-101B-9397-08002B2CF9AE}" pid="4" name="TemplafyTenantId">
    <vt:lpwstr>philips</vt:lpwstr>
  </property>
  <property fmtid="{D5CDD505-2E9C-101B-9397-08002B2CF9AE}" pid="5" name="TemplafyTemplateId">
    <vt:lpwstr>637698128337218991</vt:lpwstr>
  </property>
  <property fmtid="{D5CDD505-2E9C-101B-9397-08002B2CF9AE}" pid="6" name="TemplafyUserProfileId">
    <vt:lpwstr>637654727081507665</vt:lpwstr>
  </property>
  <property fmtid="{D5CDD505-2E9C-101B-9397-08002B2CF9AE}" pid="7" name="TemplafyFromBlank">
    <vt:bool>true</vt:bool>
  </property>
</Properties>
</file>